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1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2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7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9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sldIdLst>
    <p:sldId id="1188" r:id="rId2"/>
    <p:sldId id="1179" r:id="rId3"/>
    <p:sldId id="1243" r:id="rId4"/>
    <p:sldId id="1181" r:id="rId5"/>
    <p:sldId id="1192" r:id="rId6"/>
    <p:sldId id="1209" r:id="rId7"/>
    <p:sldId id="1180" r:id="rId8"/>
    <p:sldId id="1231" r:id="rId9"/>
    <p:sldId id="1236" r:id="rId10"/>
    <p:sldId id="1239" r:id="rId11"/>
    <p:sldId id="1240" r:id="rId12"/>
    <p:sldId id="1241" r:id="rId13"/>
    <p:sldId id="1242" r:id="rId14"/>
    <p:sldId id="1184" r:id="rId15"/>
    <p:sldId id="1207" r:id="rId16"/>
    <p:sldId id="1208" r:id="rId17"/>
    <p:sldId id="1193" r:id="rId18"/>
    <p:sldId id="1201" r:id="rId19"/>
    <p:sldId id="1185" r:id="rId20"/>
    <p:sldId id="1253" r:id="rId21"/>
    <p:sldId id="1255" r:id="rId22"/>
    <p:sldId id="1258" r:id="rId23"/>
    <p:sldId id="1262" r:id="rId24"/>
    <p:sldId id="1263" r:id="rId25"/>
    <p:sldId id="1264" r:id="rId26"/>
  </p:sldIdLst>
  <p:sldSz cx="12192000" cy="6858000"/>
  <p:notesSz cx="6858000" cy="9144000"/>
  <p:custDataLst>
    <p:tags r:id="rId2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17" autoAdjust="0"/>
    <p:restoredTop sz="96327" autoAdjust="0"/>
  </p:normalViewPr>
  <p:slideViewPr>
    <p:cSldViewPr snapToGrid="0">
      <p:cViewPr varScale="1">
        <p:scale>
          <a:sx n="115" d="100"/>
          <a:sy n="115" d="100"/>
        </p:scale>
        <p:origin x="402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3.03.202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Rakousko</c:v>
                </c:pt>
                <c:pt idx="1">
                  <c:v>Kypr</c:v>
                </c:pt>
                <c:pt idx="2">
                  <c:v>Island</c:v>
                </c:pt>
                <c:pt idx="3">
                  <c:v>Lichtenštejnsko</c:v>
                </c:pt>
                <c:pt idx="4">
                  <c:v>Německo</c:v>
                </c:pt>
                <c:pt idx="5">
                  <c:v>Nizozemsko</c:v>
                </c:pt>
                <c:pt idx="6">
                  <c:v>Lucembursko</c:v>
                </c:pt>
                <c:pt idx="7">
                  <c:v>Řecko</c:v>
                </c:pt>
                <c:pt idx="8">
                  <c:v>Lotyšsko</c:v>
                </c:pt>
                <c:pt idx="9">
                  <c:v>Slovensko</c:v>
                </c:pt>
                <c:pt idx="10">
                  <c:v>Litva</c:v>
                </c:pt>
                <c:pt idx="11">
                  <c:v>Francie</c:v>
                </c:pt>
                <c:pt idx="12">
                  <c:v>Slovinsko</c:v>
                </c:pt>
                <c:pt idx="13">
                  <c:v>Irsko</c:v>
                </c:pt>
                <c:pt idx="14">
                  <c:v>Finsko</c:v>
                </c:pt>
                <c:pt idx="15">
                  <c:v>Itálie</c:v>
                </c:pt>
                <c:pt idx="16">
                  <c:v>Estonsko</c:v>
                </c:pt>
                <c:pt idx="17">
                  <c:v>Portugalsko</c:v>
                </c:pt>
                <c:pt idx="18">
                  <c:v>Dánsko</c:v>
                </c:pt>
                <c:pt idx="19">
                  <c:v>Velká Británie</c:v>
                </c:pt>
                <c:pt idx="20">
                  <c:v>Belgie</c:v>
                </c:pt>
                <c:pt idx="21">
                  <c:v>Česká republika</c:v>
                </c:pt>
                <c:pt idx="22">
                  <c:v>Malta</c:v>
                </c:pt>
                <c:pt idx="23">
                  <c:v>Norsko</c:v>
                </c:pt>
                <c:pt idx="24">
                  <c:v>Chorvatsko</c:v>
                </c:pt>
                <c:pt idx="25">
                  <c:v>Španělsko</c:v>
                </c:pt>
                <c:pt idx="26">
                  <c:v>Polsko</c:v>
                </c:pt>
                <c:pt idx="27">
                  <c:v>Bulharsko</c:v>
                </c:pt>
                <c:pt idx="28">
                  <c:v>Maďarsko</c:v>
                </c:pt>
                <c:pt idx="29">
                  <c:v>Rumunsko</c:v>
                </c:pt>
                <c:pt idx="30">
                  <c:v>Švéd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5812.7545201337725</c:v>
                </c:pt>
                <c:pt idx="1">
                  <c:v>3717.2087995000024</c:v>
                </c:pt>
                <c:pt idx="2">
                  <c:v>10033.394299900587</c:v>
                </c:pt>
                <c:pt idx="3">
                  <c:v>5755.284280073296</c:v>
                </c:pt>
                <c:pt idx="4">
                  <c:v>3031.2176226375</c:v>
                </c:pt>
                <c:pt idx="5">
                  <c:v>4813.8842923932298</c:v>
                </c:pt>
                <c:pt idx="6">
                  <c:v>1749.5384182920518</c:v>
                </c:pt>
                <c:pt idx="7">
                  <c:v>2178.5658807872137</c:v>
                </c:pt>
                <c:pt idx="8">
                  <c:v>4866.2376977210479</c:v>
                </c:pt>
                <c:pt idx="9">
                  <c:v>2976.6907364828753</c:v>
                </c:pt>
                <c:pt idx="10">
                  <c:v>2362.916012011066</c:v>
                </c:pt>
                <c:pt idx="11">
                  <c:v>1197.5050703937136</c:v>
                </c:pt>
                <c:pt idx="12">
                  <c:v>1246.7429853411079</c:v>
                </c:pt>
                <c:pt idx="13">
                  <c:v>1079.2758095575734</c:v>
                </c:pt>
                <c:pt idx="14">
                  <c:v>1530.7788258068533</c:v>
                </c:pt>
                <c:pt idx="15">
                  <c:v>1020.5127678907005</c:v>
                </c:pt>
                <c:pt idx="16">
                  <c:v>2833.3092546441771</c:v>
                </c:pt>
                <c:pt idx="17">
                  <c:v>1507.1034524489289</c:v>
                </c:pt>
                <c:pt idx="18">
                  <c:v>3096.8459475338427</c:v>
                </c:pt>
                <c:pt idx="19">
                  <c:v>1293.9461838176194</c:v>
                </c:pt>
                <c:pt idx="20">
                  <c:v>881.75768326847447</c:v>
                </c:pt>
                <c:pt idx="21">
                  <c:v>1010.3947666056447</c:v>
                </c:pt>
                <c:pt idx="22">
                  <c:v>315.995677894295</c:v>
                </c:pt>
                <c:pt idx="23">
                  <c:v>1951.5498604585307</c:v>
                </c:pt>
                <c:pt idx="24">
                  <c:v>463.01715184079501</c:v>
                </c:pt>
                <c:pt idx="25">
                  <c:v>460.81545380105143</c:v>
                </c:pt>
                <c:pt idx="26">
                  <c:v>413.41595839079361</c:v>
                </c:pt>
                <c:pt idx="27">
                  <c:v>350.71658101107073</c:v>
                </c:pt>
                <c:pt idx="28">
                  <c:v>316.12587959743394</c:v>
                </c:pt>
                <c:pt idx="29">
                  <c:v>296.29820478603006</c:v>
                </c:pt>
                <c:pt idx="30">
                  <c:v>219.21863854187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7.03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Rakousko</c:v>
                </c:pt>
                <c:pt idx="1">
                  <c:v>Kypr</c:v>
                </c:pt>
                <c:pt idx="2">
                  <c:v>Island</c:v>
                </c:pt>
                <c:pt idx="3">
                  <c:v>Lichtenštejnsko</c:v>
                </c:pt>
                <c:pt idx="4">
                  <c:v>Německo</c:v>
                </c:pt>
                <c:pt idx="5">
                  <c:v>Nizozemsko</c:v>
                </c:pt>
                <c:pt idx="6">
                  <c:v>Lucembursko</c:v>
                </c:pt>
                <c:pt idx="7">
                  <c:v>Řecko</c:v>
                </c:pt>
                <c:pt idx="8">
                  <c:v>Lotyšsko</c:v>
                </c:pt>
                <c:pt idx="9">
                  <c:v>Slovensko</c:v>
                </c:pt>
                <c:pt idx="10">
                  <c:v>Litva</c:v>
                </c:pt>
                <c:pt idx="11">
                  <c:v>Francie</c:v>
                </c:pt>
                <c:pt idx="12">
                  <c:v>Slovinsko</c:v>
                </c:pt>
                <c:pt idx="13">
                  <c:v>Irsko</c:v>
                </c:pt>
                <c:pt idx="14">
                  <c:v>Finsko</c:v>
                </c:pt>
                <c:pt idx="15">
                  <c:v>Itálie</c:v>
                </c:pt>
                <c:pt idx="16">
                  <c:v>Estonsko</c:v>
                </c:pt>
                <c:pt idx="17">
                  <c:v>Portugalsko</c:v>
                </c:pt>
                <c:pt idx="18">
                  <c:v>Dánsko</c:v>
                </c:pt>
                <c:pt idx="19">
                  <c:v>Velká Británie</c:v>
                </c:pt>
                <c:pt idx="20">
                  <c:v>Belgie</c:v>
                </c:pt>
                <c:pt idx="21">
                  <c:v>Česká republika</c:v>
                </c:pt>
                <c:pt idx="22">
                  <c:v>Malta</c:v>
                </c:pt>
                <c:pt idx="23">
                  <c:v>Norsko</c:v>
                </c:pt>
                <c:pt idx="24">
                  <c:v>Chorvatsko</c:v>
                </c:pt>
                <c:pt idx="25">
                  <c:v>Španělsko</c:v>
                </c:pt>
                <c:pt idx="26">
                  <c:v>Polsko</c:v>
                </c:pt>
                <c:pt idx="27">
                  <c:v>Bulharsko</c:v>
                </c:pt>
                <c:pt idx="28">
                  <c:v>Maďarsko</c:v>
                </c:pt>
                <c:pt idx="29">
                  <c:v>Rumunsko</c:v>
                </c:pt>
                <c:pt idx="30">
                  <c:v>Švéd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6357.9140651050266</c:v>
                </c:pt>
                <c:pt idx="1">
                  <c:v>6078.7946013817491</c:v>
                </c:pt>
                <c:pt idx="2">
                  <c:v>5672.3623720937894</c:v>
                </c:pt>
                <c:pt idx="3">
                  <c:v>4839.084316205126</c:v>
                </c:pt>
                <c:pt idx="4">
                  <c:v>3725.6276733127029</c:v>
                </c:pt>
                <c:pt idx="5">
                  <c:v>3350.3441172339526</c:v>
                </c:pt>
                <c:pt idx="6">
                  <c:v>2801.2739016271953</c:v>
                </c:pt>
                <c:pt idx="7">
                  <c:v>2754.3985598818499</c:v>
                </c:pt>
                <c:pt idx="8">
                  <c:v>2531.039092088537</c:v>
                </c:pt>
                <c:pt idx="9">
                  <c:v>2462.2595652189052</c:v>
                </c:pt>
                <c:pt idx="10">
                  <c:v>2430.093518820081</c:v>
                </c:pt>
                <c:pt idx="11">
                  <c:v>2184.3765326005491</c:v>
                </c:pt>
                <c:pt idx="12">
                  <c:v>1846.353360265781</c:v>
                </c:pt>
                <c:pt idx="13">
                  <c:v>1801.0289176624151</c:v>
                </c:pt>
                <c:pt idx="14">
                  <c:v>1726.3160028465463</c:v>
                </c:pt>
                <c:pt idx="15">
                  <c:v>1662.4601988468162</c:v>
                </c:pt>
                <c:pt idx="16">
                  <c:v>1519.4405316574566</c:v>
                </c:pt>
                <c:pt idx="17">
                  <c:v>1430.228258621944</c:v>
                </c:pt>
                <c:pt idx="18">
                  <c:v>1392.9984785573447</c:v>
                </c:pt>
                <c:pt idx="19">
                  <c:v>1357.28160369644</c:v>
                </c:pt>
                <c:pt idx="20">
                  <c:v>1048.5973457010841</c:v>
                </c:pt>
                <c:pt idx="21">
                  <c:v>970.8864058416641</c:v>
                </c:pt>
                <c:pt idx="22">
                  <c:v>869.86264099315156</c:v>
                </c:pt>
                <c:pt idx="23">
                  <c:v>798.88888474880673</c:v>
                </c:pt>
                <c:pt idx="24">
                  <c:v>509.4174337416049</c:v>
                </c:pt>
                <c:pt idx="25">
                  <c:v>475.71638447857538</c:v>
                </c:pt>
                <c:pt idx="26">
                  <c:v>320.42667635593716</c:v>
                </c:pt>
                <c:pt idx="27">
                  <c:v>301.02933446421929</c:v>
                </c:pt>
                <c:pt idx="28">
                  <c:v>267.68954809066474</c:v>
                </c:pt>
                <c:pt idx="29">
                  <c:v>242.02696509743626</c:v>
                </c:pt>
                <c:pt idx="30">
                  <c:v>119.11783088966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Polsko</c:v>
                </c:pt>
                <c:pt idx="4">
                  <c:v>Chorvatsko</c:v>
                </c:pt>
                <c:pt idx="5">
                  <c:v>Itálie</c:v>
                </c:pt>
                <c:pt idx="6">
                  <c:v>Česká republika</c:v>
                </c:pt>
                <c:pt idx="7">
                  <c:v>Řecko</c:v>
                </c:pt>
                <c:pt idx="8">
                  <c:v>Španělsko</c:v>
                </c:pt>
                <c:pt idx="9">
                  <c:v>Malta</c:v>
                </c:pt>
                <c:pt idx="10">
                  <c:v>Belgie</c:v>
                </c:pt>
                <c:pt idx="11">
                  <c:v>Slovensko</c:v>
                </c:pt>
                <c:pt idx="12">
                  <c:v>Lotyšsko</c:v>
                </c:pt>
                <c:pt idx="13">
                  <c:v>Švédsko</c:v>
                </c:pt>
                <c:pt idx="14">
                  <c:v>Slovinsko</c:v>
                </c:pt>
                <c:pt idx="15">
                  <c:v>Litva</c:v>
                </c:pt>
                <c:pt idx="16">
                  <c:v>Německo</c:v>
                </c:pt>
                <c:pt idx="17">
                  <c:v>Francie</c:v>
                </c:pt>
                <c:pt idx="18">
                  <c:v>Portugalsko</c:v>
                </c:pt>
                <c:pt idx="19">
                  <c:v>Lichtenštejnsko</c:v>
                </c:pt>
                <c:pt idx="20">
                  <c:v>Lucembursko</c:v>
                </c:pt>
                <c:pt idx="21">
                  <c:v>Irsko</c:v>
                </c:pt>
                <c:pt idx="22">
                  <c:v>Estonsko</c:v>
                </c:pt>
                <c:pt idx="23">
                  <c:v>Rakousko</c:v>
                </c:pt>
                <c:pt idx="24">
                  <c:v>Finsko</c:v>
                </c:pt>
                <c:pt idx="25">
                  <c:v>Nizozem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0.00%</c:formatCode>
                <c:ptCount val="30"/>
                <c:pt idx="0">
                  <c:v>3.2149797635164352E-2</c:v>
                </c:pt>
                <c:pt idx="1">
                  <c:v>2.3937731648254069E-2</c:v>
                </c:pt>
                <c:pt idx="2">
                  <c:v>2.2021227962290699E-2</c:v>
                </c:pt>
                <c:pt idx="3">
                  <c:v>1.9355717809958713E-2</c:v>
                </c:pt>
                <c:pt idx="4">
                  <c:v>1.4185797384402205E-2</c:v>
                </c:pt>
                <c:pt idx="5">
                  <c:v>1.1053606811631523E-2</c:v>
                </c:pt>
                <c:pt idx="6">
                  <c:v>1.0443274780300707E-2</c:v>
                </c:pt>
                <c:pt idx="7">
                  <c:v>9.2946056398087833E-3</c:v>
                </c:pt>
                <c:pt idx="8">
                  <c:v>8.8768498679231284E-3</c:v>
                </c:pt>
                <c:pt idx="9">
                  <c:v>8.1699769531553453E-3</c:v>
                </c:pt>
                <c:pt idx="10">
                  <c:v>8.0093381800613855E-3</c:v>
                </c:pt>
                <c:pt idx="11">
                  <c:v>7.9772541573353353E-3</c:v>
                </c:pt>
                <c:pt idx="12">
                  <c:v>7.7445744974184751E-3</c:v>
                </c:pt>
                <c:pt idx="13">
                  <c:v>7.3154466532486346E-3</c:v>
                </c:pt>
                <c:pt idx="14">
                  <c:v>6.7608486822870982E-3</c:v>
                </c:pt>
                <c:pt idx="15">
                  <c:v>6.5743104289566739E-3</c:v>
                </c:pt>
                <c:pt idx="16">
                  <c:v>6.281936461101637E-3</c:v>
                </c:pt>
                <c:pt idx="17">
                  <c:v>6.2274634510274983E-3</c:v>
                </c:pt>
                <c:pt idx="18">
                  <c:v>6.0693238694106578E-3</c:v>
                </c:pt>
                <c:pt idx="19">
                  <c:v>5.0643991496811301E-3</c:v>
                </c:pt>
                <c:pt idx="20">
                  <c:v>4.7186833366070248E-3</c:v>
                </c:pt>
                <c:pt idx="21">
                  <c:v>4.6477896677765487E-3</c:v>
                </c:pt>
                <c:pt idx="22">
                  <c:v>4.3090210239276304E-3</c:v>
                </c:pt>
                <c:pt idx="23">
                  <c:v>4.1470618243202957E-3</c:v>
                </c:pt>
                <c:pt idx="24">
                  <c:v>3.97855801589288E-3</c:v>
                </c:pt>
                <c:pt idx="25">
                  <c:v>2.8241603578318735E-3</c:v>
                </c:pt>
                <c:pt idx="26">
                  <c:v>2.5330623545698214E-3</c:v>
                </c:pt>
                <c:pt idx="27">
                  <c:v>1.8463837933571133E-3</c:v>
                </c:pt>
                <c:pt idx="28">
                  <c:v>1.7658614217789072E-3</c:v>
                </c:pt>
                <c:pt idx="29">
                  <c:v>5.010326840320883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Francie</c:v>
                </c:pt>
                <c:pt idx="2">
                  <c:v>Portugalsko</c:v>
                </c:pt>
                <c:pt idx="3">
                  <c:v>Malta</c:v>
                </c:pt>
                <c:pt idx="4">
                  <c:v>Island</c:v>
                </c:pt>
                <c:pt idx="5">
                  <c:v>Dánsko</c:v>
                </c:pt>
                <c:pt idx="6">
                  <c:v>Norsko</c:v>
                </c:pt>
                <c:pt idx="7">
                  <c:v>Německo</c:v>
                </c:pt>
                <c:pt idx="8">
                  <c:v>Belgie</c:v>
                </c:pt>
                <c:pt idx="9">
                  <c:v>Finsko</c:v>
                </c:pt>
                <c:pt idx="10">
                  <c:v>Švédsko</c:v>
                </c:pt>
                <c:pt idx="11">
                  <c:v>Kypr</c:v>
                </c:pt>
                <c:pt idx="12">
                  <c:v>Itálie</c:v>
                </c:pt>
                <c:pt idx="13">
                  <c:v>Španělsko</c:v>
                </c:pt>
                <c:pt idx="14">
                  <c:v>Rakousko</c:v>
                </c:pt>
                <c:pt idx="15">
                  <c:v>Lucembursko</c:v>
                </c:pt>
                <c:pt idx="16">
                  <c:v>Nizozemsko</c:v>
                </c:pt>
                <c:pt idx="17">
                  <c:v>Lichtenštejnsko</c:v>
                </c:pt>
                <c:pt idx="18">
                  <c:v>Řecko</c:v>
                </c:pt>
                <c:pt idx="19">
                  <c:v>Litva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799999999999995</c:v>
                </c:pt>
                <c:pt idx="1">
                  <c:v>0.94499999999999995</c:v>
                </c:pt>
                <c:pt idx="2">
                  <c:v>0.94399999999999995</c:v>
                </c:pt>
                <c:pt idx="3">
                  <c:v>0.94</c:v>
                </c:pt>
                <c:pt idx="4">
                  <c:v>0.92400000000000004</c:v>
                </c:pt>
                <c:pt idx="5">
                  <c:v>0.92300000000000004</c:v>
                </c:pt>
                <c:pt idx="6">
                  <c:v>0.91800000000000004</c:v>
                </c:pt>
                <c:pt idx="7">
                  <c:v>0.90800000000000003</c:v>
                </c:pt>
                <c:pt idx="8">
                  <c:v>0.89</c:v>
                </c:pt>
                <c:pt idx="9">
                  <c:v>0.88700000000000001</c:v>
                </c:pt>
                <c:pt idx="10">
                  <c:v>0.872</c:v>
                </c:pt>
                <c:pt idx="11">
                  <c:v>0.86799999999999999</c:v>
                </c:pt>
                <c:pt idx="12">
                  <c:v>0.86699999999999999</c:v>
                </c:pt>
                <c:pt idx="13">
                  <c:v>0.86099999999999999</c:v>
                </c:pt>
                <c:pt idx="14">
                  <c:v>0.83199999999999996</c:v>
                </c:pt>
                <c:pt idx="15">
                  <c:v>0.83099999999999996</c:v>
                </c:pt>
                <c:pt idx="16">
                  <c:v>0.82699999999999996</c:v>
                </c:pt>
                <c:pt idx="17">
                  <c:v>0.81899999999999995</c:v>
                </c:pt>
                <c:pt idx="18">
                  <c:v>0.81699999999999995</c:v>
                </c:pt>
                <c:pt idx="19">
                  <c:v>0.79</c:v>
                </c:pt>
                <c:pt idx="20">
                  <c:v>0.77100000000000002</c:v>
                </c:pt>
                <c:pt idx="21">
                  <c:v>0.74299999999999999</c:v>
                </c:pt>
                <c:pt idx="22">
                  <c:v>0.73099999999999998</c:v>
                </c:pt>
                <c:pt idx="23">
                  <c:v>0.71</c:v>
                </c:pt>
                <c:pt idx="24">
                  <c:v>0.67700000000000005</c:v>
                </c:pt>
                <c:pt idx="25">
                  <c:v>0.66200000000000003</c:v>
                </c:pt>
                <c:pt idx="26">
                  <c:v>0.65600000000000003</c:v>
                </c:pt>
                <c:pt idx="27">
                  <c:v>0.59899999999999998</c:v>
                </c:pt>
                <c:pt idx="28">
                  <c:v>0.5</c:v>
                </c:pt>
                <c:pt idx="29">
                  <c:v>0.350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Francie</c:v>
                </c:pt>
                <c:pt idx="1">
                  <c:v>Island</c:v>
                </c:pt>
                <c:pt idx="2">
                  <c:v>Malta</c:v>
                </c:pt>
                <c:pt idx="3">
                  <c:v>Dánsko</c:v>
                </c:pt>
                <c:pt idx="4">
                  <c:v>Irsko</c:v>
                </c:pt>
                <c:pt idx="5">
                  <c:v>Belgie</c:v>
                </c:pt>
                <c:pt idx="6">
                  <c:v>Itálie</c:v>
                </c:pt>
                <c:pt idx="7">
                  <c:v>Portugalsko</c:v>
                </c:pt>
                <c:pt idx="8">
                  <c:v>Německo</c:v>
                </c:pt>
                <c:pt idx="9">
                  <c:v>Norsko</c:v>
                </c:pt>
                <c:pt idx="10">
                  <c:v>Rakou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Finsko</c:v>
                </c:pt>
                <c:pt idx="14">
                  <c:v>Švédsko</c:v>
                </c:pt>
                <c:pt idx="15">
                  <c:v>Řecko</c:v>
                </c:pt>
                <c:pt idx="16">
                  <c:v>Španělsko</c:v>
                </c:pt>
                <c:pt idx="17">
                  <c:v>Kypr</c:v>
                </c:pt>
                <c:pt idx="18">
                  <c:v>Lichtenštejnsko</c:v>
                </c:pt>
                <c:pt idx="19">
                  <c:v>Maďarsko</c:v>
                </c:pt>
                <c:pt idx="20">
                  <c:v>Česká republika</c:v>
                </c:pt>
                <c:pt idx="21">
                  <c:v>Estonsko</c:v>
                </c:pt>
                <c:pt idx="22">
                  <c:v>Litva</c:v>
                </c:pt>
                <c:pt idx="23">
                  <c:v>Polsko</c:v>
                </c:pt>
                <c:pt idx="24">
                  <c:v>Slovinsko</c:v>
                </c:pt>
                <c:pt idx="25">
                  <c:v>Slovensko</c:v>
                </c:pt>
                <c:pt idx="26">
                  <c:v>Lotyšsko</c:v>
                </c:pt>
                <c:pt idx="27">
                  <c:v>Chorvat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88100000000000001</c:v>
                </c:pt>
                <c:pt idx="1">
                  <c:v>0.86</c:v>
                </c:pt>
                <c:pt idx="2">
                  <c:v>0.79400000000000004</c:v>
                </c:pt>
                <c:pt idx="3">
                  <c:v>0.77400000000000002</c:v>
                </c:pt>
                <c:pt idx="4">
                  <c:v>0.752</c:v>
                </c:pt>
                <c:pt idx="5">
                  <c:v>0.75</c:v>
                </c:pt>
                <c:pt idx="6">
                  <c:v>0.74099999999999999</c:v>
                </c:pt>
                <c:pt idx="7">
                  <c:v>0.73399999999999999</c:v>
                </c:pt>
                <c:pt idx="8">
                  <c:v>0.7</c:v>
                </c:pt>
                <c:pt idx="9">
                  <c:v>0.68400000000000005</c:v>
                </c:pt>
                <c:pt idx="10">
                  <c:v>0.67400000000000004</c:v>
                </c:pt>
                <c:pt idx="11">
                  <c:v>0.67</c:v>
                </c:pt>
                <c:pt idx="12">
                  <c:v>0.64800000000000002</c:v>
                </c:pt>
                <c:pt idx="13">
                  <c:v>0.63900000000000001</c:v>
                </c:pt>
                <c:pt idx="14">
                  <c:v>0.63400000000000001</c:v>
                </c:pt>
                <c:pt idx="15">
                  <c:v>0.629</c:v>
                </c:pt>
                <c:pt idx="16">
                  <c:v>0.627</c:v>
                </c:pt>
                <c:pt idx="17">
                  <c:v>0.61899999999999999</c:v>
                </c:pt>
                <c:pt idx="18">
                  <c:v>0.56399999999999995</c:v>
                </c:pt>
                <c:pt idx="19">
                  <c:v>0.46600000000000003</c:v>
                </c:pt>
                <c:pt idx="20">
                  <c:v>0.46400000000000002</c:v>
                </c:pt>
                <c:pt idx="21">
                  <c:v>0.41</c:v>
                </c:pt>
                <c:pt idx="22">
                  <c:v>0.38200000000000001</c:v>
                </c:pt>
                <c:pt idx="23">
                  <c:v>0.37</c:v>
                </c:pt>
                <c:pt idx="24">
                  <c:v>0.36799999999999999</c:v>
                </c:pt>
                <c:pt idx="25">
                  <c:v>0.36799999999999999</c:v>
                </c:pt>
                <c:pt idx="26">
                  <c:v>0.33300000000000002</c:v>
                </c:pt>
                <c:pt idx="27">
                  <c:v>0.26</c:v>
                </c:pt>
                <c:pt idx="28">
                  <c:v>0.124</c:v>
                </c:pt>
                <c:pt idx="29">
                  <c:v>0.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56525839482095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75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7400000000000004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31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124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50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26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56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9.332745443856533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61899999999999999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6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6400000000000002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023962857688971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774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196545869262337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41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30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758208085816809E-2"/>
                  <c:y val="-4.666372721928277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63900000000000001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87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8100000000000001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944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7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908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95552404790468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629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81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6600000000000003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86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752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7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286409019268361E-2"/>
                  <c:y val="1.33342519106407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74099999999999999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66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33300000000000002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71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56399999999999995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818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8200000000000001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28891188672612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67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830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9332452914033097E-3"/>
                  <c:y val="-2.998052616108182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79400000000000004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691117662001338E-2"/>
                  <c:y val="3.733098177542622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64800000000000002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1401988586471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68400000000000005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1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37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62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733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43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108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799999999999999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916619100433179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36799999999999999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7377735266711494E-3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627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60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137166371490727E-2"/>
                  <c:y val="-2.566504997060552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63400000000000001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I$2:$I$40</c:f>
              <c:numCache>
                <c:formatCode>General</c:formatCode>
                <c:ptCount val="39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8.1988884298812</c:v>
                </c:pt>
                <c:pt idx="28">
                  <c:v>3077.7161781705959</c:v>
                </c:pt>
                <c:pt idx="29">
                  <c:v>4777.1478957581903</c:v>
                </c:pt>
                <c:pt idx="30">
                  <c:v>5818.9064121835308</c:v>
                </c:pt>
                <c:pt idx="31">
                  <c:v>4380.1660065055667</c:v>
                </c:pt>
                <c:pt idx="32">
                  <c:v>2495.8689305390176</c:v>
                </c:pt>
                <c:pt idx="33">
                  <c:v>1430.6952346898747</c:v>
                </c:pt>
                <c:pt idx="34">
                  <c:v>936.79810873391398</c:v>
                </c:pt>
                <c:pt idx="35">
                  <c:v>775.4781105390872</c:v>
                </c:pt>
                <c:pt idx="36">
                  <c:v>881.75768326847447</c:v>
                </c:pt>
                <c:pt idx="37">
                  <c:v>1108.2201339299663</c:v>
                </c:pt>
                <c:pt idx="38">
                  <c:v>1048.5973457010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C$2:$C$40</c:f>
              <c:numCache>
                <c:formatCode>General</c:formatCode>
                <c:ptCount val="39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235724086325</c:v>
                </c:pt>
                <c:pt idx="22">
                  <c:v>2272.8481993398318</c:v>
                </c:pt>
                <c:pt idx="23">
                  <c:v>1922.9116605209738</c:v>
                </c:pt>
                <c:pt idx="24">
                  <c:v>1492.7708115784089</c:v>
                </c:pt>
                <c:pt idx="25">
                  <c:v>1020.0357417411863</c:v>
                </c:pt>
                <c:pt idx="26">
                  <c:v>715.71382630852861</c:v>
                </c:pt>
                <c:pt idx="27">
                  <c:v>774.77531899143992</c:v>
                </c:pt>
                <c:pt idx="28">
                  <c:v>1118.7739148315695</c:v>
                </c:pt>
                <c:pt idx="29">
                  <c:v>2172.5857983667197</c:v>
                </c:pt>
                <c:pt idx="30">
                  <c:v>3822.0528469444239</c:v>
                </c:pt>
                <c:pt idx="31">
                  <c:v>4476.3580566524643</c:v>
                </c:pt>
                <c:pt idx="32">
                  <c:v>3638.3413071647406</c:v>
                </c:pt>
                <c:pt idx="33">
                  <c:v>2487.4463937002074</c:v>
                </c:pt>
                <c:pt idx="34">
                  <c:v>1622.5452567103664</c:v>
                </c:pt>
                <c:pt idx="35">
                  <c:v>1133.1932976240093</c:v>
                </c:pt>
                <c:pt idx="36">
                  <c:v>1010.3947666056447</c:v>
                </c:pt>
                <c:pt idx="37">
                  <c:v>1008.3936330663566</c:v>
                </c:pt>
                <c:pt idx="38">
                  <c:v>970.8864058416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D$2:$D$40</c:f>
              <c:numCache>
                <c:formatCode>General</c:formatCode>
                <c:ptCount val="39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4.1983525424221</c:v>
                </c:pt>
                <c:pt idx="31">
                  <c:v>6198.2183776712782</c:v>
                </c:pt>
                <c:pt idx="32">
                  <c:v>4122.4095299991313</c:v>
                </c:pt>
                <c:pt idx="33">
                  <c:v>2378.7431103904955</c:v>
                </c:pt>
                <c:pt idx="34">
                  <c:v>1501.6618485003078</c:v>
                </c:pt>
                <c:pt idx="35">
                  <c:v>1153.64008933067</c:v>
                </c:pt>
                <c:pt idx="36">
                  <c:v>1197.5050703937136</c:v>
                </c:pt>
                <c:pt idx="37">
                  <c:v>1557.3345753970843</c:v>
                </c:pt>
                <c:pt idx="38">
                  <c:v>2184.3765326005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F$2:$F$40</c:f>
              <c:numCache>
                <c:formatCode>General</c:formatCode>
                <c:ptCount val="39"/>
                <c:pt idx="0">
                  <c:v>17.33860161235414</c:v>
                </c:pt>
                <c:pt idx="1">
                  <c:v>22.14398138423374</c:v>
                </c:pt>
                <c:pt idx="2">
                  <c:v>40.476857317845592</c:v>
                </c:pt>
                <c:pt idx="3">
                  <c:v>77.360578260555812</c:v>
                </c:pt>
                <c:pt idx="4">
                  <c:v>113.83015795984166</c:v>
                </c:pt>
                <c:pt idx="5">
                  <c:v>132.46148385835042</c:v>
                </c:pt>
                <c:pt idx="6">
                  <c:v>143.05645761219102</c:v>
                </c:pt>
                <c:pt idx="7">
                  <c:v>147.87692755083506</c:v>
                </c:pt>
                <c:pt idx="8">
                  <c:v>150.19242980658026</c:v>
                </c:pt>
                <c:pt idx="9">
                  <c:v>145.58154551744249</c:v>
                </c:pt>
                <c:pt idx="10">
                  <c:v>127.70808132754837</c:v>
                </c:pt>
                <c:pt idx="11">
                  <c:v>108.43290831375637</c:v>
                </c:pt>
                <c:pt idx="12">
                  <c:v>90.375008752296722</c:v>
                </c:pt>
                <c:pt idx="13">
                  <c:v>76.998414258208982</c:v>
                </c:pt>
                <c:pt idx="14">
                  <c:v>67.07076121239632</c:v>
                </c:pt>
                <c:pt idx="15">
                  <c:v>60.134314556337024</c:v>
                </c:pt>
                <c:pt idx="16">
                  <c:v>68.524447277371749</c:v>
                </c:pt>
                <c:pt idx="17">
                  <c:v>90.651661809644992</c:v>
                </c:pt>
                <c:pt idx="18">
                  <c:v>112.10652557830214</c:v>
                </c:pt>
                <c:pt idx="19">
                  <c:v>147.70925903123006</c:v>
                </c:pt>
                <c:pt idx="20">
                  <c:v>197.24692314853041</c:v>
                </c:pt>
                <c:pt idx="21">
                  <c:v>247.74197451277541</c:v>
                </c:pt>
                <c:pt idx="22">
                  <c:v>307.49400484441304</c:v>
                </c:pt>
                <c:pt idx="23">
                  <c:v>365.01269049491185</c:v>
                </c:pt>
                <c:pt idx="24">
                  <c:v>469.59425291334117</c:v>
                </c:pt>
                <c:pt idx="25">
                  <c:v>707.21910895315023</c:v>
                </c:pt>
                <c:pt idx="26">
                  <c:v>1574.274940960561</c:v>
                </c:pt>
                <c:pt idx="27">
                  <c:v>3000.6394206663658</c:v>
                </c:pt>
                <c:pt idx="28">
                  <c:v>3988.5641350866363</c:v>
                </c:pt>
                <c:pt idx="29">
                  <c:v>4169.4784677404432</c:v>
                </c:pt>
                <c:pt idx="30">
                  <c:v>3719.8434754008822</c:v>
                </c:pt>
                <c:pt idx="31">
                  <c:v>2847.1087106344494</c:v>
                </c:pt>
                <c:pt idx="32">
                  <c:v>1978.8071015263736</c:v>
                </c:pt>
                <c:pt idx="33">
                  <c:v>1422.2297740123452</c:v>
                </c:pt>
                <c:pt idx="34">
                  <c:v>1104.7393720290816</c:v>
                </c:pt>
                <c:pt idx="35">
                  <c:v>932.46667487571733</c:v>
                </c:pt>
                <c:pt idx="36">
                  <c:v>1020.5127678907005</c:v>
                </c:pt>
                <c:pt idx="37">
                  <c:v>1401.0901270605455</c:v>
                </c:pt>
                <c:pt idx="38">
                  <c:v>1662.4601988468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K$2:$K$40</c:f>
              <c:numCache>
                <c:formatCode>General</c:formatCode>
                <c:ptCount val="39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  <c:pt idx="33">
                  <c:v>1116.9938029746786</c:v>
                </c:pt>
                <c:pt idx="34">
                  <c:v>721.34512974324446</c:v>
                </c:pt>
                <c:pt idx="35">
                  <c:v>473.03216143751496</c:v>
                </c:pt>
                <c:pt idx="36">
                  <c:v>316.12587959743394</c:v>
                </c:pt>
                <c:pt idx="37">
                  <c:v>245.96894465504261</c:v>
                </c:pt>
                <c:pt idx="38">
                  <c:v>267.689548090664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E$2:$E$40</c:f>
              <c:numCache>
                <c:formatCode>General</c:formatCode>
                <c:ptCount val="39"/>
                <c:pt idx="0">
                  <c:v>11.088571243366832</c:v>
                </c:pt>
                <c:pt idx="1">
                  <c:v>11.974743115667998</c:v>
                </c:pt>
                <c:pt idx="2">
                  <c:v>17.66211483342175</c:v>
                </c:pt>
                <c:pt idx="3">
                  <c:v>26.147481051643368</c:v>
                </c:pt>
                <c:pt idx="4">
                  <c:v>33.848879751899766</c:v>
                </c:pt>
                <c:pt idx="5">
                  <c:v>43.199976971555365</c:v>
                </c:pt>
                <c:pt idx="6">
                  <c:v>63.106980387862158</c:v>
                </c:pt>
                <c:pt idx="7">
                  <c:v>98.252051833575578</c:v>
                </c:pt>
                <c:pt idx="8">
                  <c:v>139.51014607274777</c:v>
                </c:pt>
                <c:pt idx="9">
                  <c:v>169.69530032274571</c:v>
                </c:pt>
                <c:pt idx="10">
                  <c:v>176.06082799162274</c:v>
                </c:pt>
                <c:pt idx="11">
                  <c:v>160.1001150568525</c:v>
                </c:pt>
                <c:pt idx="12">
                  <c:v>138.37868375004032</c:v>
                </c:pt>
                <c:pt idx="13">
                  <c:v>132.3846989692787</c:v>
                </c:pt>
                <c:pt idx="14">
                  <c:v>137.67046769470059</c:v>
                </c:pt>
                <c:pt idx="15">
                  <c:v>148.32857824568774</c:v>
                </c:pt>
                <c:pt idx="16">
                  <c:v>196.08807182479538</c:v>
                </c:pt>
                <c:pt idx="17">
                  <c:v>282.27399782588492</c:v>
                </c:pt>
                <c:pt idx="18">
                  <c:v>378.65390636885957</c:v>
                </c:pt>
                <c:pt idx="19">
                  <c:v>540.09830928627196</c:v>
                </c:pt>
                <c:pt idx="20">
                  <c:v>749.11944034915598</c:v>
                </c:pt>
                <c:pt idx="21">
                  <c:v>907.86564831209932</c:v>
                </c:pt>
                <c:pt idx="22">
                  <c:v>951.80630625154811</c:v>
                </c:pt>
                <c:pt idx="23">
                  <c:v>873.49853236350782</c:v>
                </c:pt>
                <c:pt idx="24">
                  <c:v>735.63808481015917</c:v>
                </c:pt>
                <c:pt idx="25">
                  <c:v>562.17084261033244</c:v>
                </c:pt>
                <c:pt idx="26">
                  <c:v>484.18531303949243</c:v>
                </c:pt>
                <c:pt idx="27">
                  <c:v>657.56117252250124</c:v>
                </c:pt>
                <c:pt idx="28">
                  <c:v>990.97822925809828</c:v>
                </c:pt>
                <c:pt idx="29">
                  <c:v>1541.6396591660334</c:v>
                </c:pt>
                <c:pt idx="30">
                  <c:v>2292.6120043390915</c:v>
                </c:pt>
                <c:pt idx="31">
                  <c:v>2885.9599846385654</c:v>
                </c:pt>
                <c:pt idx="32">
                  <c:v>3122.0580551754656</c:v>
                </c:pt>
                <c:pt idx="33">
                  <c:v>3002.8024073237671</c:v>
                </c:pt>
                <c:pt idx="34">
                  <c:v>2742.1416244295146</c:v>
                </c:pt>
                <c:pt idx="35">
                  <c:v>2662.5520876976848</c:v>
                </c:pt>
                <c:pt idx="36">
                  <c:v>3031.2176226375</c:v>
                </c:pt>
                <c:pt idx="37">
                  <c:v>3557.4185445424191</c:v>
                </c:pt>
                <c:pt idx="38">
                  <c:v>3725.6276733127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G$2:$G$40</c:f>
              <c:numCache>
                <c:formatCode>General</c:formatCode>
                <c:ptCount val="39"/>
                <c:pt idx="0">
                  <c:v>58.267703417791729</c:v>
                </c:pt>
                <c:pt idx="1">
                  <c:v>258.04843118674995</c:v>
                </c:pt>
                <c:pt idx="2">
                  <c:v>627.39317372283404</c:v>
                </c:pt>
                <c:pt idx="3">
                  <c:v>661.1026170488324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0838910164739</c:v>
                </c:pt>
                <c:pt idx="9">
                  <c:v>203.85940956198118</c:v>
                </c:pt>
                <c:pt idx="10">
                  <c:v>197.46564500474935</c:v>
                </c:pt>
                <c:pt idx="11">
                  <c:v>176.57245390443305</c:v>
                </c:pt>
                <c:pt idx="12">
                  <c:v>147.25190197261711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5040951975819</c:v>
                </c:pt>
                <c:pt idx="17">
                  <c:v>484.20271967650882</c:v>
                </c:pt>
                <c:pt idx="18">
                  <c:v>680.01965809731792</c:v>
                </c:pt>
                <c:pt idx="19">
                  <c:v>934.52940198195211</c:v>
                </c:pt>
                <c:pt idx="20">
                  <c:v>1382.8799342355644</c:v>
                </c:pt>
                <c:pt idx="21">
                  <c:v>1746.882178085013</c:v>
                </c:pt>
                <c:pt idx="22">
                  <c:v>1776.7657029967108</c:v>
                </c:pt>
                <c:pt idx="23">
                  <c:v>1612.2741896707669</c:v>
                </c:pt>
                <c:pt idx="24">
                  <c:v>1310.7619465882258</c:v>
                </c:pt>
                <c:pt idx="25">
                  <c:v>1061.7900185465128</c:v>
                </c:pt>
                <c:pt idx="26">
                  <c:v>1067.6840009685434</c:v>
                </c:pt>
                <c:pt idx="27">
                  <c:v>1594.2016080921048</c:v>
                </c:pt>
                <c:pt idx="28">
                  <c:v>2303.8750062113727</c:v>
                </c:pt>
                <c:pt idx="29">
                  <c:v>3117.5720239194579</c:v>
                </c:pt>
                <c:pt idx="30">
                  <c:v>4277.4687011437827</c:v>
                </c:pt>
                <c:pt idx="31">
                  <c:v>5706.1102961726165</c:v>
                </c:pt>
                <c:pt idx="32">
                  <c:v>8178.7048576812922</c:v>
                </c:pt>
                <c:pt idx="33">
                  <c:v>6917.2719822996705</c:v>
                </c:pt>
                <c:pt idx="34">
                  <c:v>3437.9323725835602</c:v>
                </c:pt>
                <c:pt idx="35">
                  <c:v>3594.4503502352563</c:v>
                </c:pt>
                <c:pt idx="36">
                  <c:v>4813.8842923932298</c:v>
                </c:pt>
                <c:pt idx="37">
                  <c:v>4617.9869292610083</c:v>
                </c:pt>
                <c:pt idx="38">
                  <c:v>3350.3441172339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J$2:$J$40</c:f>
              <c:numCache>
                <c:formatCode>General</c:formatCode>
                <c:ptCount val="39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  <c:pt idx="33">
                  <c:v>990.44900463768795</c:v>
                </c:pt>
                <c:pt idx="34">
                  <c:v>664.20539384729568</c:v>
                </c:pt>
                <c:pt idx="35">
                  <c:v>484.56012252234291</c:v>
                </c:pt>
                <c:pt idx="36">
                  <c:v>413.41595839079361</c:v>
                </c:pt>
                <c:pt idx="37">
                  <c:v>389.84262083667011</c:v>
                </c:pt>
                <c:pt idx="38">
                  <c:v>320.42667635593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B$2:$B$40</c:f>
              <c:numCache>
                <c:formatCode>General</c:formatCode>
                <c:ptCount val="39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1208916147554</c:v>
                </c:pt>
                <c:pt idx="12">
                  <c:v>286.60618550771005</c:v>
                </c:pt>
                <c:pt idx="13">
                  <c:v>273.64144331509129</c:v>
                </c:pt>
                <c:pt idx="14">
                  <c:v>285.11198211809284</c:v>
                </c:pt>
                <c:pt idx="15">
                  <c:v>316.18691877735068</c:v>
                </c:pt>
                <c:pt idx="16">
                  <c:v>440.56530769804601</c:v>
                </c:pt>
                <c:pt idx="17">
                  <c:v>656.42714174395337</c:v>
                </c:pt>
                <c:pt idx="18">
                  <c:v>1023.1922835292499</c:v>
                </c:pt>
                <c:pt idx="19">
                  <c:v>1520.312627793711</c:v>
                </c:pt>
                <c:pt idx="20">
                  <c:v>1978.4713378086037</c:v>
                </c:pt>
                <c:pt idx="21">
                  <c:v>2021.8369399433598</c:v>
                </c:pt>
                <c:pt idx="22">
                  <c:v>1500.6295876537906</c:v>
                </c:pt>
                <c:pt idx="23">
                  <c:v>900.95970549138838</c:v>
                </c:pt>
                <c:pt idx="24">
                  <c:v>541.16002311633758</c:v>
                </c:pt>
                <c:pt idx="25">
                  <c:v>376.38196961621668</c:v>
                </c:pt>
                <c:pt idx="26">
                  <c:v>424.34252803934447</c:v>
                </c:pt>
                <c:pt idx="27">
                  <c:v>961.82883304737504</c:v>
                </c:pt>
                <c:pt idx="28">
                  <c:v>1951.070119257653</c:v>
                </c:pt>
                <c:pt idx="29">
                  <c:v>3231.1193358456917</c:v>
                </c:pt>
                <c:pt idx="30">
                  <c:v>4534.6601260253829</c:v>
                </c:pt>
                <c:pt idx="31">
                  <c:v>5153.0581063117852</c:v>
                </c:pt>
                <c:pt idx="32">
                  <c:v>5032.3422008874441</c:v>
                </c:pt>
                <c:pt idx="33">
                  <c:v>4635.1200261002505</c:v>
                </c:pt>
                <c:pt idx="34">
                  <c:v>4291.048800458012</c:v>
                </c:pt>
                <c:pt idx="35">
                  <c:v>4530.6830733943716</c:v>
                </c:pt>
                <c:pt idx="36">
                  <c:v>5812.7545201337725</c:v>
                </c:pt>
                <c:pt idx="37">
                  <c:v>6928.6660561029557</c:v>
                </c:pt>
                <c:pt idx="38">
                  <c:v>6357.9140651050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L$2:$L$40</c:f>
              <c:numCache>
                <c:formatCode>General</c:formatCode>
                <c:ptCount val="39"/>
                <c:pt idx="0">
                  <c:v>14.25463729185344</c:v>
                </c:pt>
                <c:pt idx="1">
                  <c:v>10.626850423232641</c:v>
                </c:pt>
                <c:pt idx="2">
                  <c:v>9.8573198753433804</c:v>
                </c:pt>
                <c:pt idx="3">
                  <c:v>11.04826000898152</c:v>
                </c:pt>
                <c:pt idx="4">
                  <c:v>15.225711554666077</c:v>
                </c:pt>
                <c:pt idx="5">
                  <c:v>17.735846913257234</c:v>
                </c:pt>
                <c:pt idx="6">
                  <c:v>20.777324793010024</c:v>
                </c:pt>
                <c:pt idx="7">
                  <c:v>27.171757202851733</c:v>
                </c:pt>
                <c:pt idx="8">
                  <c:v>34.372364472386955</c:v>
                </c:pt>
                <c:pt idx="9">
                  <c:v>57.75143540349876</c:v>
                </c:pt>
                <c:pt idx="10">
                  <c:v>107.3495114305518</c:v>
                </c:pt>
                <c:pt idx="11">
                  <c:v>176.42403918156396</c:v>
                </c:pt>
                <c:pt idx="12">
                  <c:v>251.92964365422208</c:v>
                </c:pt>
                <c:pt idx="13">
                  <c:v>335.57028534742381</c:v>
                </c:pt>
                <c:pt idx="14">
                  <c:v>428.64683733022008</c:v>
                </c:pt>
                <c:pt idx="15">
                  <c:v>528.44762052909618</c:v>
                </c:pt>
                <c:pt idx="16">
                  <c:v>766.41578138589887</c:v>
                </c:pt>
                <c:pt idx="17">
                  <c:v>1170.4926076513689</c:v>
                </c:pt>
                <c:pt idx="18">
                  <c:v>1603.4634737744907</c:v>
                </c:pt>
                <c:pt idx="19">
                  <c:v>2002.1352640488335</c:v>
                </c:pt>
                <c:pt idx="20">
                  <c:v>2420.0636401763104</c:v>
                </c:pt>
                <c:pt idx="21">
                  <c:v>2756.7515770337636</c:v>
                </c:pt>
                <c:pt idx="22">
                  <c:v>2791.1239415061509</c:v>
                </c:pt>
                <c:pt idx="23">
                  <c:v>2366.5812670980067</c:v>
                </c:pt>
                <c:pt idx="24">
                  <c:v>1698.0241203853591</c:v>
                </c:pt>
                <c:pt idx="25">
                  <c:v>1138.4105126667478</c:v>
                </c:pt>
                <c:pt idx="26">
                  <c:v>882.59657196127489</c:v>
                </c:pt>
                <c:pt idx="27">
                  <c:v>835.10554386296633</c:v>
                </c:pt>
                <c:pt idx="28">
                  <c:v>782.42934564435632</c:v>
                </c:pt>
                <c:pt idx="29">
                  <c:v>1285.5007802490093</c:v>
                </c:pt>
                <c:pt idx="30">
                  <c:v>2847.1164499430456</c:v>
                </c:pt>
                <c:pt idx="31">
                  <c:v>4646.5353810907654</c:v>
                </c:pt>
                <c:pt idx="32">
                  <c:v>5507.1636881253926</c:v>
                </c:pt>
                <c:pt idx="33">
                  <c:v>5346.7348910463843</c:v>
                </c:pt>
                <c:pt idx="34">
                  <c:v>4501.47887281364</c:v>
                </c:pt>
                <c:pt idx="35">
                  <c:v>3491.6349281121047</c:v>
                </c:pt>
                <c:pt idx="36">
                  <c:v>2976.6907364828753</c:v>
                </c:pt>
                <c:pt idx="37">
                  <c:v>2775.5867533011487</c:v>
                </c:pt>
                <c:pt idx="38">
                  <c:v>2462.2595652189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0</c:f>
              <c:numCache>
                <c:formatCode>General</c:formatCode>
                <c:ptCount val="39"/>
                <c:pt idx="0">
                  <c:v>229.69785695757264</c:v>
                </c:pt>
                <c:pt idx="1">
                  <c:v>452.55899029789475</c:v>
                </c:pt>
                <c:pt idx="2">
                  <c:v>658.90085850741309</c:v>
                </c:pt>
                <c:pt idx="3">
                  <c:v>765.71938325654276</c:v>
                </c:pt>
                <c:pt idx="4">
                  <c:v>725.85258021033872</c:v>
                </c:pt>
                <c:pt idx="5">
                  <c:v>585.15889276683515</c:v>
                </c:pt>
                <c:pt idx="6">
                  <c:v>443.59054414362151</c:v>
                </c:pt>
                <c:pt idx="7">
                  <c:v>336.43398608832382</c:v>
                </c:pt>
                <c:pt idx="8">
                  <c:v>254.41231705479018</c:v>
                </c:pt>
                <c:pt idx="9">
                  <c:v>181.96755412663242</c:v>
                </c:pt>
                <c:pt idx="10">
                  <c:v>121.3539569143593</c:v>
                </c:pt>
                <c:pt idx="11">
                  <c:v>86.796389483158478</c:v>
                </c:pt>
                <c:pt idx="12">
                  <c:v>68.346109090869135</c:v>
                </c:pt>
                <c:pt idx="13">
                  <c:v>56.284658185157497</c:v>
                </c:pt>
                <c:pt idx="14">
                  <c:v>47.609878465617811</c:v>
                </c:pt>
                <c:pt idx="15">
                  <c:v>44.371096850894396</c:v>
                </c:pt>
                <c:pt idx="16">
                  <c:v>48.672570671883875</c:v>
                </c:pt>
                <c:pt idx="17">
                  <c:v>54.586040821662628</c:v>
                </c:pt>
                <c:pt idx="18">
                  <c:v>62.28474936964183</c:v>
                </c:pt>
                <c:pt idx="19">
                  <c:v>87.656261705723665</c:v>
                </c:pt>
                <c:pt idx="20">
                  <c:v>139.63944606989168</c:v>
                </c:pt>
                <c:pt idx="21">
                  <c:v>210.85461284686284</c:v>
                </c:pt>
                <c:pt idx="22">
                  <c:v>314.12378788122709</c:v>
                </c:pt>
                <c:pt idx="23">
                  <c:v>432.4819246196713</c:v>
                </c:pt>
                <c:pt idx="24">
                  <c:v>726.43357495531518</c:v>
                </c:pt>
                <c:pt idx="25">
                  <c:v>1515.6885271538142</c:v>
                </c:pt>
                <c:pt idx="26">
                  <c:v>2696.7494336991404</c:v>
                </c:pt>
                <c:pt idx="27">
                  <c:v>3533.3248233448508</c:v>
                </c:pt>
                <c:pt idx="28">
                  <c:v>3874.3307098990986</c:v>
                </c:pt>
                <c:pt idx="29">
                  <c:v>3785.7279549361037</c:v>
                </c:pt>
                <c:pt idx="30">
                  <c:v>3098.0710256146003</c:v>
                </c:pt>
                <c:pt idx="31">
                  <c:v>2123.7745289115028</c:v>
                </c:pt>
                <c:pt idx="32">
                  <c:v>1318.8728600537463</c:v>
                </c:pt>
                <c:pt idx="33">
                  <c:v>844.58044087740438</c:v>
                </c:pt>
                <c:pt idx="34">
                  <c:v>578.74259807413137</c:v>
                </c:pt>
                <c:pt idx="35">
                  <c:v>478.4882575891541</c:v>
                </c:pt>
                <c:pt idx="36">
                  <c:v>460.81545380105143</c:v>
                </c:pt>
                <c:pt idx="37">
                  <c:v>470.28672449824973</c:v>
                </c:pt>
                <c:pt idx="38">
                  <c:v>475.716384478575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H$2:$H$40</c:f>
              <c:numCache>
                <c:formatCode>General</c:formatCode>
                <c:ptCount val="39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  <c:pt idx="33">
                  <c:v>1179.0017855310698</c:v>
                </c:pt>
                <c:pt idx="34">
                  <c:v>791.46794638713868</c:v>
                </c:pt>
                <c:pt idx="35">
                  <c:v>939.68599378461863</c:v>
                </c:pt>
                <c:pt idx="36">
                  <c:v>1293.9461838176194</c:v>
                </c:pt>
                <c:pt idx="37">
                  <c:v>1415.1967952095349</c:v>
                </c:pt>
                <c:pt idx="38">
                  <c:v>1357.281603696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I$2:$I$40</c:f>
              <c:numCache>
                <c:formatCode>General</c:formatCode>
                <c:ptCount val="39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52.4999913212826</c:v>
                </c:pt>
                <c:pt idx="28">
                  <c:v>1725.2161868493131</c:v>
                </c:pt>
                <c:pt idx="29">
                  <c:v>3051.9317089088768</c:v>
                </c:pt>
                <c:pt idx="30">
                  <c:v>2766.9747032746536</c:v>
                </c:pt>
                <c:pt idx="31">
                  <c:v>1613.1913032309128</c:v>
                </c:pt>
                <c:pt idx="32">
                  <c:v>882.67762730810489</c:v>
                </c:pt>
                <c:pt idx="33">
                  <c:v>548.01760738176984</c:v>
                </c:pt>
                <c:pt idx="34">
                  <c:v>388.78050135214414</c:v>
                </c:pt>
                <c:pt idx="35">
                  <c:v>386.69760918694305</c:v>
                </c:pt>
                <c:pt idx="36">
                  <c:v>495.0600740815313</c:v>
                </c:pt>
                <c:pt idx="37">
                  <c:v>613.16005984843491</c:v>
                </c:pt>
                <c:pt idx="38">
                  <c:v>435.437285852649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C$2:$C$40</c:f>
              <c:numCache>
                <c:formatCode>General</c:formatCode>
                <c:ptCount val="39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5777364168621</c:v>
                </c:pt>
                <c:pt idx="25">
                  <c:v>380.17796809950011</c:v>
                </c:pt>
                <c:pt idx="26">
                  <c:v>335.5358582090285</c:v>
                </c:pt>
                <c:pt idx="27">
                  <c:v>439.23946078241141</c:v>
                </c:pt>
                <c:pt idx="28">
                  <c:v>679.53445404915817</c:v>
                </c:pt>
                <c:pt idx="29">
                  <c:v>1493.0513443175616</c:v>
                </c:pt>
                <c:pt idx="30">
                  <c:v>2329.0015026268616</c:v>
                </c:pt>
                <c:pt idx="31">
                  <c:v>2147.3565540256027</c:v>
                </c:pt>
                <c:pt idx="32">
                  <c:v>1490.9847531391379</c:v>
                </c:pt>
                <c:pt idx="33">
                  <c:v>996.4616405610692</c:v>
                </c:pt>
                <c:pt idx="34">
                  <c:v>626.08361614929731</c:v>
                </c:pt>
                <c:pt idx="35">
                  <c:v>507.10968147471203</c:v>
                </c:pt>
                <c:pt idx="36">
                  <c:v>503.2850851309326</c:v>
                </c:pt>
                <c:pt idx="37">
                  <c:v>505.10854793542399</c:v>
                </c:pt>
                <c:pt idx="38">
                  <c:v>465.77785790624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D$2:$D$40</c:f>
              <c:numCache>
                <c:formatCode>General</c:formatCode>
                <c:ptCount val="39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4.87422203161088</c:v>
                </c:pt>
                <c:pt idx="26">
                  <c:v>1701.8825370376112</c:v>
                </c:pt>
                <c:pt idx="27">
                  <c:v>2592.5020799101417</c:v>
                </c:pt>
                <c:pt idx="28">
                  <c:v>3004.6041444667972</c:v>
                </c:pt>
                <c:pt idx="29">
                  <c:v>3687.1405760195426</c:v>
                </c:pt>
                <c:pt idx="30">
                  <c:v>3567.05777652288</c:v>
                </c:pt>
                <c:pt idx="31">
                  <c:v>2631.1606011483977</c:v>
                </c:pt>
                <c:pt idx="32">
                  <c:v>1491.2489288507334</c:v>
                </c:pt>
                <c:pt idx="33">
                  <c:v>887.49418153976217</c:v>
                </c:pt>
                <c:pt idx="34">
                  <c:v>614.1676669605456</c:v>
                </c:pt>
                <c:pt idx="35">
                  <c:v>539.47242237012438</c:v>
                </c:pt>
                <c:pt idx="36">
                  <c:v>658.03264802358922</c:v>
                </c:pt>
                <c:pt idx="37">
                  <c:v>899.30192737349512</c:v>
                </c:pt>
                <c:pt idx="38">
                  <c:v>1285.074605227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F$2:$F$40</c:f>
              <c:numCache>
                <c:formatCode>General</c:formatCode>
                <c:ptCount val="39"/>
                <c:pt idx="0">
                  <c:v>8.7992439088709524</c:v>
                </c:pt>
                <c:pt idx="1">
                  <c:v>13.344737475362786</c:v>
                </c:pt>
                <c:pt idx="2">
                  <c:v>27.132119842482805</c:v>
                </c:pt>
                <c:pt idx="3">
                  <c:v>50.228458418073004</c:v>
                </c:pt>
                <c:pt idx="4">
                  <c:v>63.601699541768639</c:v>
                </c:pt>
                <c:pt idx="5">
                  <c:v>68.859784316581781</c:v>
                </c:pt>
                <c:pt idx="6">
                  <c:v>74.196673295609259</c:v>
                </c:pt>
                <c:pt idx="7">
                  <c:v>73.680254255225833</c:v>
                </c:pt>
                <c:pt idx="8">
                  <c:v>76.51217555135446</c:v>
                </c:pt>
                <c:pt idx="9">
                  <c:v>69.069369966088033</c:v>
                </c:pt>
                <c:pt idx="10">
                  <c:v>58.638711361460338</c:v>
                </c:pt>
                <c:pt idx="11">
                  <c:v>49.794196952296026</c:v>
                </c:pt>
                <c:pt idx="12">
                  <c:v>40.580811800000696</c:v>
                </c:pt>
                <c:pt idx="13">
                  <c:v>36.417602458208286</c:v>
                </c:pt>
                <c:pt idx="14">
                  <c:v>30.653158754188023</c:v>
                </c:pt>
                <c:pt idx="15">
                  <c:v>29.481155802148997</c:v>
                </c:pt>
                <c:pt idx="16">
                  <c:v>39.043291475222752</c:v>
                </c:pt>
                <c:pt idx="17">
                  <c:v>51.608370334422233</c:v>
                </c:pt>
                <c:pt idx="18">
                  <c:v>60.4981552438799</c:v>
                </c:pt>
                <c:pt idx="19">
                  <c:v>87.211103787350169</c:v>
                </c:pt>
                <c:pt idx="20">
                  <c:v>110.03581936118026</c:v>
                </c:pt>
                <c:pt idx="21">
                  <c:v>137.70615515159514</c:v>
                </c:pt>
                <c:pt idx="22">
                  <c:v>169.78784969281787</c:v>
                </c:pt>
                <c:pt idx="23">
                  <c:v>195.22484080209401</c:v>
                </c:pt>
                <c:pt idx="24">
                  <c:v>274.36941211124713</c:v>
                </c:pt>
                <c:pt idx="25">
                  <c:v>432.8496968419031</c:v>
                </c:pt>
                <c:pt idx="26">
                  <c:v>1141.4252441186579</c:v>
                </c:pt>
                <c:pt idx="27">
                  <c:v>1859.2141765477077</c:v>
                </c:pt>
                <c:pt idx="28">
                  <c:v>2129.3499585389286</c:v>
                </c:pt>
                <c:pt idx="29">
                  <c:v>2040.1285092015144</c:v>
                </c:pt>
                <c:pt idx="30">
                  <c:v>1679.7149661993678</c:v>
                </c:pt>
                <c:pt idx="31">
                  <c:v>1167.3937444350818</c:v>
                </c:pt>
                <c:pt idx="32">
                  <c:v>811.4133570912918</c:v>
                </c:pt>
                <c:pt idx="33">
                  <c:v>610.81641692105336</c:v>
                </c:pt>
                <c:pt idx="34">
                  <c:v>493.92295510802819</c:v>
                </c:pt>
                <c:pt idx="35">
                  <c:v>438.5437197676892</c:v>
                </c:pt>
                <c:pt idx="36">
                  <c:v>581.96904812301125</c:v>
                </c:pt>
                <c:pt idx="37">
                  <c:v>819.12107893753421</c:v>
                </c:pt>
                <c:pt idx="38">
                  <c:v>843.33911990928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K$2:$K$40</c:f>
              <c:numCache>
                <c:formatCode>General</c:formatCode>
                <c:ptCount val="39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4495685870525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0105290676333</c:v>
                </c:pt>
                <c:pt idx="27">
                  <c:v>361.64497642976738</c:v>
                </c:pt>
                <c:pt idx="28">
                  <c:v>518.12135000203693</c:v>
                </c:pt>
                <c:pt idx="29">
                  <c:v>953.51606618376354</c:v>
                </c:pt>
                <c:pt idx="30">
                  <c:v>1146.6165298091228</c:v>
                </c:pt>
                <c:pt idx="31">
                  <c:v>994.52112620407581</c:v>
                </c:pt>
                <c:pt idx="32">
                  <c:v>680.81092163529729</c:v>
                </c:pt>
                <c:pt idx="33">
                  <c:v>436.18288133938125</c:v>
                </c:pt>
                <c:pt idx="34">
                  <c:v>285.1622484038632</c:v>
                </c:pt>
                <c:pt idx="35">
                  <c:v>187.86991303365178</c:v>
                </c:pt>
                <c:pt idx="36">
                  <c:v>128.2559665637821</c:v>
                </c:pt>
                <c:pt idx="37">
                  <c:v>117.71297809126052</c:v>
                </c:pt>
                <c:pt idx="38">
                  <c:v>149.97656999940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E$2:$E$40</c:f>
              <c:numCache>
                <c:formatCode>General</c:formatCode>
                <c:ptCount val="39"/>
                <c:pt idx="0">
                  <c:v>5.2629230462173737</c:v>
                </c:pt>
                <c:pt idx="1">
                  <c:v>6.7118200694506234</c:v>
                </c:pt>
                <c:pt idx="2">
                  <c:v>10.950294763971128</c:v>
                </c:pt>
                <c:pt idx="3">
                  <c:v>15.19718628767224</c:v>
                </c:pt>
                <c:pt idx="4">
                  <c:v>18.651693464227531</c:v>
                </c:pt>
                <c:pt idx="5">
                  <c:v>24.548283507327831</c:v>
                </c:pt>
                <c:pt idx="6">
                  <c:v>38.558696880534328</c:v>
                </c:pt>
                <c:pt idx="7">
                  <c:v>59.693354953041251</c:v>
                </c:pt>
                <c:pt idx="8">
                  <c:v>79.816791119706537</c:v>
                </c:pt>
                <c:pt idx="9">
                  <c:v>89.878509203039187</c:v>
                </c:pt>
                <c:pt idx="10">
                  <c:v>86.182318788583572</c:v>
                </c:pt>
                <c:pt idx="11">
                  <c:v>73.91779626826893</c:v>
                </c:pt>
                <c:pt idx="12">
                  <c:v>64.460887481771394</c:v>
                </c:pt>
                <c:pt idx="13">
                  <c:v>67.923811487507308</c:v>
                </c:pt>
                <c:pt idx="14">
                  <c:v>69.746656207193283</c:v>
                </c:pt>
                <c:pt idx="15">
                  <c:v>78.581922038494469</c:v>
                </c:pt>
                <c:pt idx="16">
                  <c:v>117.50614978630091</c:v>
                </c:pt>
                <c:pt idx="17">
                  <c:v>164.76784803958401</c:v>
                </c:pt>
                <c:pt idx="18">
                  <c:v>213.8860583292755</c:v>
                </c:pt>
                <c:pt idx="19">
                  <c:v>326.21225095699651</c:v>
                </c:pt>
                <c:pt idx="20">
                  <c:v>422.90718939215958</c:v>
                </c:pt>
                <c:pt idx="21">
                  <c:v>484.95845891993974</c:v>
                </c:pt>
                <c:pt idx="22">
                  <c:v>466.84784733160842</c:v>
                </c:pt>
                <c:pt idx="23">
                  <c:v>406.65068503189934</c:v>
                </c:pt>
                <c:pt idx="24">
                  <c:v>328.98739977825983</c:v>
                </c:pt>
                <c:pt idx="25">
                  <c:v>233.18344283207259</c:v>
                </c:pt>
                <c:pt idx="26">
                  <c:v>251.00187020741987</c:v>
                </c:pt>
                <c:pt idx="27">
                  <c:v>406.55930231508131</c:v>
                </c:pt>
                <c:pt idx="28">
                  <c:v>584.41892694301691</c:v>
                </c:pt>
                <c:pt idx="29">
                  <c:v>957.22073222301651</c:v>
                </c:pt>
                <c:pt idx="30">
                  <c:v>1335.3912721160752</c:v>
                </c:pt>
                <c:pt idx="31">
                  <c:v>1550.5687125224899</c:v>
                </c:pt>
                <c:pt idx="32">
                  <c:v>1571.4893426529757</c:v>
                </c:pt>
                <c:pt idx="33">
                  <c:v>1431.3130646707912</c:v>
                </c:pt>
                <c:pt idx="34">
                  <c:v>1310.8285597587237</c:v>
                </c:pt>
                <c:pt idx="35">
                  <c:v>1351.7235279389611</c:v>
                </c:pt>
                <c:pt idx="36">
                  <c:v>1679.4940946985387</c:v>
                </c:pt>
                <c:pt idx="37">
                  <c:v>1877.9244498438804</c:v>
                </c:pt>
                <c:pt idx="38">
                  <c:v>1847.7032234688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G$2:$G$40</c:f>
              <c:numCache>
                <c:formatCode>General</c:formatCode>
                <c:ptCount val="39"/>
                <c:pt idx="0">
                  <c:v>33.393489102595218</c:v>
                </c:pt>
                <c:pt idx="1">
                  <c:v>224.6549420841547</c:v>
                </c:pt>
                <c:pt idx="2">
                  <c:v>402.73823163867939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08699828264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45348478838392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096139412791</c:v>
                </c:pt>
                <c:pt idx="16">
                  <c:v>200.07944812563028</c:v>
                </c:pt>
                <c:pt idx="17">
                  <c:v>284.12327155087854</c:v>
                </c:pt>
                <c:pt idx="18">
                  <c:v>395.89638654643937</c:v>
                </c:pt>
                <c:pt idx="19">
                  <c:v>538.63301543551279</c:v>
                </c:pt>
                <c:pt idx="20">
                  <c:v>844.24691880005184</c:v>
                </c:pt>
                <c:pt idx="21">
                  <c:v>902.63525928496108</c:v>
                </c:pt>
                <c:pt idx="22">
                  <c:v>874.13044371174988</c:v>
                </c:pt>
                <c:pt idx="23">
                  <c:v>738.14374595901722</c:v>
                </c:pt>
                <c:pt idx="24">
                  <c:v>572.61820062920845</c:v>
                </c:pt>
                <c:pt idx="25">
                  <c:v>489.17181791730439</c:v>
                </c:pt>
                <c:pt idx="26">
                  <c:v>578.51218305123882</c:v>
                </c:pt>
                <c:pt idx="27">
                  <c:v>1015.6894250408659</c:v>
                </c:pt>
                <c:pt idx="28">
                  <c:v>1288.185581170507</c:v>
                </c:pt>
                <c:pt idx="29">
                  <c:v>1829.3864427489511</c:v>
                </c:pt>
                <c:pt idx="30">
                  <c:v>2448.082258394832</c:v>
                </c:pt>
                <c:pt idx="31">
                  <c:v>3258.0280377777849</c:v>
                </c:pt>
                <c:pt idx="32">
                  <c:v>4920.6768199035077</c:v>
                </c:pt>
                <c:pt idx="33">
                  <c:v>1996.5951623961626</c:v>
                </c:pt>
                <c:pt idx="34">
                  <c:v>1441.3372101873981</c:v>
                </c:pt>
                <c:pt idx="35">
                  <c:v>2153.1131400478585</c:v>
                </c:pt>
                <c:pt idx="36">
                  <c:v>2660.7711523453713</c:v>
                </c:pt>
                <c:pt idx="37">
                  <c:v>1957.2157769156377</c:v>
                </c:pt>
                <c:pt idx="38">
                  <c:v>1393.1283403183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J$2:$J$40</c:f>
              <c:numCache>
                <c:formatCode>General</c:formatCode>
                <c:ptCount val="39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  <c:pt idx="28">
                  <c:v>270.0422238835846</c:v>
                </c:pt>
                <c:pt idx="29">
                  <c:v>589.70753517993955</c:v>
                </c:pt>
                <c:pt idx="30">
                  <c:v>892.54378073023497</c:v>
                </c:pt>
                <c:pt idx="31">
                  <c:v>884.62189583693487</c:v>
                </c:pt>
                <c:pt idx="32">
                  <c:v>599.29441217585543</c:v>
                </c:pt>
                <c:pt idx="33">
                  <c:v>391.15459246183252</c:v>
                </c:pt>
                <c:pt idx="34">
                  <c:v>273.0508013854631</c:v>
                </c:pt>
                <c:pt idx="35">
                  <c:v>211.50932113687981</c:v>
                </c:pt>
                <c:pt idx="36">
                  <c:v>201.9066372539138</c:v>
                </c:pt>
                <c:pt idx="37">
                  <c:v>187.93598358275636</c:v>
                </c:pt>
                <c:pt idx="38">
                  <c:v>132.4906927731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B$2:$B$40</c:f>
              <c:numCache>
                <c:formatCode>General</c:formatCode>
                <c:ptCount val="39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5344511622432</c:v>
                </c:pt>
                <c:pt idx="12">
                  <c:v>132.15274039148579</c:v>
                </c:pt>
                <c:pt idx="13">
                  <c:v>141.48870292360553</c:v>
                </c:pt>
                <c:pt idx="14">
                  <c:v>143.62327919448731</c:v>
                </c:pt>
                <c:pt idx="15">
                  <c:v>172.56363958286335</c:v>
                </c:pt>
                <c:pt idx="16">
                  <c:v>268.00166811518261</c:v>
                </c:pt>
                <c:pt idx="17">
                  <c:v>388.4254736287707</c:v>
                </c:pt>
                <c:pt idx="18">
                  <c:v>634.7668099004793</c:v>
                </c:pt>
                <c:pt idx="19">
                  <c:v>885.54581789323174</c:v>
                </c:pt>
                <c:pt idx="20">
                  <c:v>1092.9255199153718</c:v>
                </c:pt>
                <c:pt idx="21">
                  <c:v>928.91142002798767</c:v>
                </c:pt>
                <c:pt idx="22">
                  <c:v>571.71816762580295</c:v>
                </c:pt>
                <c:pt idx="23">
                  <c:v>329.24153786558549</c:v>
                </c:pt>
                <c:pt idx="24">
                  <c:v>211.91848525075204</c:v>
                </c:pt>
                <c:pt idx="25">
                  <c:v>164.46348436546461</c:v>
                </c:pt>
                <c:pt idx="26">
                  <c:v>259.87904367387989</c:v>
                </c:pt>
                <c:pt idx="27">
                  <c:v>701.94978937349515</c:v>
                </c:pt>
                <c:pt idx="28">
                  <c:v>1249.1203298841579</c:v>
                </c:pt>
                <c:pt idx="29">
                  <c:v>1981.9990059615347</c:v>
                </c:pt>
                <c:pt idx="30">
                  <c:v>2552.6611200638486</c:v>
                </c:pt>
                <c:pt idx="31">
                  <c:v>2600.3969862479362</c:v>
                </c:pt>
                <c:pt idx="32">
                  <c:v>2431.9452146395083</c:v>
                </c:pt>
                <c:pt idx="33">
                  <c:v>2203.1748114607421</c:v>
                </c:pt>
                <c:pt idx="34">
                  <c:v>2087.8739889972703</c:v>
                </c:pt>
                <c:pt idx="35">
                  <c:v>2442.8090843971013</c:v>
                </c:pt>
                <c:pt idx="36">
                  <c:v>3369.9454357366717</c:v>
                </c:pt>
                <c:pt idx="37">
                  <c:v>3558.720620366284</c:v>
                </c:pt>
                <c:pt idx="38">
                  <c:v>2799.1934447387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L$2:$L$40</c:f>
              <c:numCache>
                <c:formatCode>General</c:formatCode>
                <c:ptCount val="39"/>
                <c:pt idx="0">
                  <c:v>5.3867138352248212</c:v>
                </c:pt>
                <c:pt idx="1">
                  <c:v>5.240136588007819</c:v>
                </c:pt>
                <c:pt idx="2">
                  <c:v>4.6171832873355614</c:v>
                </c:pt>
                <c:pt idx="3">
                  <c:v>6.431076721645959</c:v>
                </c:pt>
                <c:pt idx="4">
                  <c:v>8.7946348330201172</c:v>
                </c:pt>
                <c:pt idx="5">
                  <c:v>8.9412120802371167</c:v>
                </c:pt>
                <c:pt idx="6">
                  <c:v>11.836112712772907</c:v>
                </c:pt>
                <c:pt idx="7">
                  <c:v>15.335644490078828</c:v>
                </c:pt>
                <c:pt idx="8">
                  <c:v>19.036719982308128</c:v>
                </c:pt>
                <c:pt idx="9">
                  <c:v>38.71471542119064</c:v>
                </c:pt>
                <c:pt idx="10">
                  <c:v>68.634796009361153</c:v>
                </c:pt>
                <c:pt idx="11">
                  <c:v>107.78924317220279</c:v>
                </c:pt>
                <c:pt idx="12">
                  <c:v>144.14040048201926</c:v>
                </c:pt>
                <c:pt idx="13">
                  <c:v>191.42988486540452</c:v>
                </c:pt>
                <c:pt idx="14">
                  <c:v>237.21695246481551</c:v>
                </c:pt>
                <c:pt idx="15">
                  <c:v>291.23066806428074</c:v>
                </c:pt>
                <c:pt idx="16">
                  <c:v>475.18511332161819</c:v>
                </c:pt>
                <c:pt idx="17">
                  <c:v>695.30749432975074</c:v>
                </c:pt>
                <c:pt idx="18">
                  <c:v>908.15597944473984</c:v>
                </c:pt>
                <c:pt idx="19">
                  <c:v>1093.9792846040939</c:v>
                </c:pt>
                <c:pt idx="20">
                  <c:v>1326.0843555722165</c:v>
                </c:pt>
                <c:pt idx="21">
                  <c:v>1430.6672214615473</c:v>
                </c:pt>
                <c:pt idx="22">
                  <c:v>1360.4567200446033</c:v>
                </c:pt>
                <c:pt idx="23">
                  <c:v>1006.1245470534034</c:v>
                </c:pt>
                <c:pt idx="24">
                  <c:v>691.89957333195548</c:v>
                </c:pt>
                <c:pt idx="25">
                  <c:v>446.51093933479211</c:v>
                </c:pt>
                <c:pt idx="26">
                  <c:v>436.08563262648289</c:v>
                </c:pt>
                <c:pt idx="27">
                  <c:v>399.01991123648349</c:v>
                </c:pt>
                <c:pt idx="28">
                  <c:v>383.40943440787282</c:v>
                </c:pt>
                <c:pt idx="29">
                  <c:v>902.09134584113633</c:v>
                </c:pt>
                <c:pt idx="30">
                  <c:v>1945.0251041019092</c:v>
                </c:pt>
                <c:pt idx="31">
                  <c:v>2701.5102769888563</c:v>
                </c:pt>
                <c:pt idx="32">
                  <c:v>2805.6534111365363</c:v>
                </c:pt>
                <c:pt idx="33">
                  <c:v>2541.0814799098475</c:v>
                </c:pt>
                <c:pt idx="34">
                  <c:v>1960.3973929037923</c:v>
                </c:pt>
                <c:pt idx="35">
                  <c:v>1531.2375352083127</c:v>
                </c:pt>
                <c:pt idx="36">
                  <c:v>1445.4532012745624</c:v>
                </c:pt>
                <c:pt idx="37">
                  <c:v>1330.1335520265864</c:v>
                </c:pt>
                <c:pt idx="38">
                  <c:v>1132.1260131923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0</c:f>
              <c:numCache>
                <c:formatCode>General</c:formatCode>
                <c:ptCount val="39"/>
                <c:pt idx="0">
                  <c:v>166.76450618172072</c:v>
                </c:pt>
                <c:pt idx="1">
                  <c:v>285.79448411617415</c:v>
                </c:pt>
                <c:pt idx="2">
                  <c:v>373.106374391239</c:v>
                </c:pt>
                <c:pt idx="3">
                  <c:v>392.6130088653037</c:v>
                </c:pt>
                <c:pt idx="4">
                  <c:v>333.2395713450349</c:v>
                </c:pt>
                <c:pt idx="5">
                  <c:v>251.91932142180022</c:v>
                </c:pt>
                <c:pt idx="6">
                  <c:v>191.67122272182138</c:v>
                </c:pt>
                <c:pt idx="7">
                  <c:v>144.76276336650241</c:v>
                </c:pt>
                <c:pt idx="8">
                  <c:v>109.64955368828774</c:v>
                </c:pt>
                <c:pt idx="9">
                  <c:v>72.318000438344683</c:v>
                </c:pt>
                <c:pt idx="10">
                  <c:v>49.035956476014611</c:v>
                </c:pt>
                <c:pt idx="11">
                  <c:v>37.760433007143867</c:v>
                </c:pt>
                <c:pt idx="12">
                  <c:v>30.585676083725271</c:v>
                </c:pt>
                <c:pt idx="13">
                  <c:v>25.698982101432218</c:v>
                </c:pt>
                <c:pt idx="14">
                  <c:v>21.910896364185589</c:v>
                </c:pt>
                <c:pt idx="15">
                  <c:v>22.460200486708807</c:v>
                </c:pt>
                <c:pt idx="16">
                  <c:v>26.212370185175068</c:v>
                </c:pt>
                <c:pt idx="17">
                  <c:v>28.37367063648756</c:v>
                </c:pt>
                <c:pt idx="18">
                  <c:v>33.91107873315427</c:v>
                </c:pt>
                <c:pt idx="19">
                  <c:v>53.745182972569395</c:v>
                </c:pt>
                <c:pt idx="20">
                  <c:v>85.89426309732228</c:v>
                </c:pt>
                <c:pt idx="21">
                  <c:v>124.96034974954055</c:v>
                </c:pt>
                <c:pt idx="22">
                  <c:v>189.16343813168655</c:v>
                </c:pt>
                <c:pt idx="23">
                  <c:v>243.31848648798479</c:v>
                </c:pt>
                <c:pt idx="24">
                  <c:v>483.11508846733034</c:v>
                </c:pt>
                <c:pt idx="25">
                  <c:v>1032.5734386864838</c:v>
                </c:pt>
                <c:pt idx="26">
                  <c:v>1664.1759950126566</c:v>
                </c:pt>
                <c:pt idx="27">
                  <c:v>1869.1488283321937</c:v>
                </c:pt>
                <c:pt idx="28">
                  <c:v>2005.1818815669046</c:v>
                </c:pt>
                <c:pt idx="29">
                  <c:v>1780.5460733691996</c:v>
                </c:pt>
                <c:pt idx="30">
                  <c:v>1317.524952245401</c:v>
                </c:pt>
                <c:pt idx="31">
                  <c:v>806.24957666610169</c:v>
                </c:pt>
                <c:pt idx="32">
                  <c:v>512.62328338764473</c:v>
                </c:pt>
                <c:pt idx="33">
                  <c:v>331.9571574897596</c:v>
                </c:pt>
                <c:pt idx="34">
                  <c:v>246.78544058437168</c:v>
                </c:pt>
                <c:pt idx="35">
                  <c:v>231.70281700478236</c:v>
                </c:pt>
                <c:pt idx="36">
                  <c:v>229.11263679626907</c:v>
                </c:pt>
                <c:pt idx="37">
                  <c:v>241.17408770198068</c:v>
                </c:pt>
                <c:pt idx="38">
                  <c:v>234.54229677659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H$2:$H$40</c:f>
              <c:numCache>
                <c:formatCode>General</c:formatCode>
                <c:ptCount val="39"/>
                <c:pt idx="0">
                  <c:v>278.56506264198623</c:v>
                </c:pt>
                <c:pt idx="1">
                  <c:v>345.2872069401609</c:v>
                </c:pt>
                <c:pt idx="2">
                  <c:v>497.83085810795717</c:v>
                </c:pt>
                <c:pt idx="3">
                  <c:v>333.86050159989304</c:v>
                </c:pt>
                <c:pt idx="4">
                  <c:v>270.80718631478879</c:v>
                </c:pt>
                <c:pt idx="5">
                  <c:v>290.36790744054247</c:v>
                </c:pt>
                <c:pt idx="6">
                  <c:v>305.50017416285425</c:v>
                </c:pt>
                <c:pt idx="7">
                  <c:v>351.36567935789117</c:v>
                </c:pt>
                <c:pt idx="8">
                  <c:v>353.67834930846101</c:v>
                </c:pt>
                <c:pt idx="9">
                  <c:v>393.02165506856812</c:v>
                </c:pt>
                <c:pt idx="10">
                  <c:v>337.5748787504906</c:v>
                </c:pt>
                <c:pt idx="11">
                  <c:v>312.88484962128121</c:v>
                </c:pt>
                <c:pt idx="12">
                  <c:v>359.53789680710935</c:v>
                </c:pt>
                <c:pt idx="13">
                  <c:v>341.99304809061988</c:v>
                </c:pt>
                <c:pt idx="14">
                  <c:v>389.10010735696017</c:v>
                </c:pt>
                <c:pt idx="15">
                  <c:v>466.76702831447079</c:v>
                </c:pt>
                <c:pt idx="16">
                  <c:v>467.67946035977184</c:v>
                </c:pt>
                <c:pt idx="17">
                  <c:v>414.75840173231023</c:v>
                </c:pt>
                <c:pt idx="18">
                  <c:v>353.81352442628338</c:v>
                </c:pt>
                <c:pt idx="19">
                  <c:v>405.78394934471146</c:v>
                </c:pt>
                <c:pt idx="20">
                  <c:v>439.61886905355658</c:v>
                </c:pt>
                <c:pt idx="21">
                  <c:v>442.42669133788888</c:v>
                </c:pt>
                <c:pt idx="22">
                  <c:v>502.5135005046954</c:v>
                </c:pt>
                <c:pt idx="23">
                  <c:v>565.43457926149506</c:v>
                </c:pt>
                <c:pt idx="24">
                  <c:v>998.31232396103997</c:v>
                </c:pt>
                <c:pt idx="25">
                  <c:v>1356.8202451421332</c:v>
                </c:pt>
                <c:pt idx="27">
                  <c:v>1745.714651232842</c:v>
                </c:pt>
                <c:pt idx="28">
                  <c:v>1011.2685651453633</c:v>
                </c:pt>
                <c:pt idx="29">
                  <c:v>1043.8163826453779</c:v>
                </c:pt>
                <c:pt idx="30">
                  <c:v>964.82268852054551</c:v>
                </c:pt>
                <c:pt idx="31">
                  <c:v>629.22254192606886</c:v>
                </c:pt>
                <c:pt idx="32">
                  <c:v>800.33073237305814</c:v>
                </c:pt>
                <c:pt idx="33">
                  <c:v>378.67105315801183</c:v>
                </c:pt>
                <c:pt idx="34">
                  <c:v>412.79689322912685</c:v>
                </c:pt>
                <c:pt idx="35">
                  <c:v>526.88910055549184</c:v>
                </c:pt>
                <c:pt idx="36">
                  <c:v>767.05708326212766</c:v>
                </c:pt>
                <c:pt idx="37">
                  <c:v>648.13971194740725</c:v>
                </c:pt>
                <c:pt idx="38">
                  <c:v>709.14189174903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10. vs. 9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Irsko</c:v>
                </c:pt>
                <c:pt idx="1">
                  <c:v>Francie</c:v>
                </c:pt>
                <c:pt idx="2">
                  <c:v>Malta</c:v>
                </c:pt>
                <c:pt idx="3">
                  <c:v>Maďarsko</c:v>
                </c:pt>
                <c:pt idx="4">
                  <c:v>Lucembursko</c:v>
                </c:pt>
                <c:pt idx="5">
                  <c:v>Kypr</c:v>
                </c:pt>
                <c:pt idx="6">
                  <c:v>Velká Británie</c:v>
                </c:pt>
                <c:pt idx="7">
                  <c:v>Itálie</c:v>
                </c:pt>
                <c:pt idx="8">
                  <c:v>Slovinsko</c:v>
                </c:pt>
                <c:pt idx="9">
                  <c:v>Rumunsko</c:v>
                </c:pt>
                <c:pt idx="10">
                  <c:v>Německo</c:v>
                </c:pt>
                <c:pt idx="11">
                  <c:v>Španělsko</c:v>
                </c:pt>
                <c:pt idx="12">
                  <c:v>Portugalsko</c:v>
                </c:pt>
                <c:pt idx="13">
                  <c:v>Finsko</c:v>
                </c:pt>
                <c:pt idx="14">
                  <c:v>Chorvatsko</c:v>
                </c:pt>
                <c:pt idx="15">
                  <c:v>Řecko</c:v>
                </c:pt>
                <c:pt idx="16">
                  <c:v>Česká republika</c:v>
                </c:pt>
                <c:pt idx="17">
                  <c:v>Slovensko</c:v>
                </c:pt>
                <c:pt idx="18">
                  <c:v>Estonsko</c:v>
                </c:pt>
                <c:pt idx="19">
                  <c:v>Bulharsko</c:v>
                </c:pt>
                <c:pt idx="20">
                  <c:v>Rakousko</c:v>
                </c:pt>
                <c:pt idx="21">
                  <c:v>Nizozemsko</c:v>
                </c:pt>
                <c:pt idx="22">
                  <c:v>Belgie</c:v>
                </c:pt>
                <c:pt idx="23">
                  <c:v>Polsko</c:v>
                </c:pt>
                <c:pt idx="24">
                  <c:v>Dánsko</c:v>
                </c:pt>
                <c:pt idx="25">
                  <c:v>Lotyšsko</c:v>
                </c:pt>
                <c:pt idx="26">
                  <c:v>Litva</c:v>
                </c:pt>
                <c:pt idx="27">
                  <c:v>Norsko</c:v>
                </c:pt>
                <c:pt idx="28">
                  <c:v>Island</c:v>
                </c:pt>
                <c:pt idx="29">
                  <c:v>Lichtenštejnsko</c:v>
                </c:pt>
                <c:pt idx="30">
                  <c:v>Švéd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4087394353533538</c:v>
                </c:pt>
                <c:pt idx="1">
                  <c:v>1.2197706884303392</c:v>
                </c:pt>
                <c:pt idx="2">
                  <c:v>1.4487951807228916</c:v>
                </c:pt>
                <c:pt idx="3">
                  <c:v>0.6826849733028223</c:v>
                </c:pt>
                <c:pt idx="4">
                  <c:v>1.2414569265397994</c:v>
                </c:pt>
                <c:pt idx="5">
                  <c:v>1.4225011008366359</c:v>
                </c:pt>
                <c:pt idx="6">
                  <c:v>1.4558226436140547</c:v>
                </c:pt>
                <c:pt idx="7">
                  <c:v>1.3270490988476566</c:v>
                </c:pt>
                <c:pt idx="8">
                  <c:v>1.2179781003310415</c:v>
                </c:pt>
                <c:pt idx="9">
                  <c:v>0.59992736618616604</c:v>
                </c:pt>
                <c:pt idx="10">
                  <c:v>1.2424834368751023</c:v>
                </c:pt>
                <c:pt idx="11">
                  <c:v>0.98882111041205056</c:v>
                </c:pt>
                <c:pt idx="12">
                  <c:v>1.062279046277345</c:v>
                </c:pt>
                <c:pt idx="13">
                  <c:v>1.2418957245474063</c:v>
                </c:pt>
                <c:pt idx="14">
                  <c:v>1.0353119584055459</c:v>
                </c:pt>
                <c:pt idx="15">
                  <c:v>1.2530103045038787</c:v>
                </c:pt>
                <c:pt idx="16">
                  <c:v>0.99245804905034118</c:v>
                </c:pt>
                <c:pt idx="17">
                  <c:v>0.94397712179770976</c:v>
                </c:pt>
                <c:pt idx="18">
                  <c:v>0.66088835957831593</c:v>
                </c:pt>
                <c:pt idx="19">
                  <c:v>0.87322320399538989</c:v>
                </c:pt>
                <c:pt idx="20">
                  <c:v>1.3795369671995439</c:v>
                </c:pt>
                <c:pt idx="21">
                  <c:v>1.2357786048745347</c:v>
                </c:pt>
                <c:pt idx="22">
                  <c:v>1.2802253293534125</c:v>
                </c:pt>
                <c:pt idx="23">
                  <c:v>0.95459924020676346</c:v>
                </c:pt>
                <c:pt idx="24">
                  <c:v>0.72599881310182435</c:v>
                </c:pt>
                <c:pt idx="25">
                  <c:v>0.7839956952878776</c:v>
                </c:pt>
                <c:pt idx="26">
                  <c:v>0.78346254626002865</c:v>
                </c:pt>
                <c:pt idx="27">
                  <c:v>0.67016374623319885</c:v>
                </c:pt>
                <c:pt idx="28">
                  <c:v>1.1624741047647233</c:v>
                </c:pt>
                <c:pt idx="29">
                  <c:v>0.86767169179229475</c:v>
                </c:pt>
                <c:pt idx="30">
                  <c:v>0.8061428001595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12. vs. 11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Irsko</c:v>
                </c:pt>
                <c:pt idx="1">
                  <c:v>Francie</c:v>
                </c:pt>
                <c:pt idx="2">
                  <c:v>Malta</c:v>
                </c:pt>
                <c:pt idx="3">
                  <c:v>Maďarsko</c:v>
                </c:pt>
                <c:pt idx="4">
                  <c:v>Lucembursko</c:v>
                </c:pt>
                <c:pt idx="5">
                  <c:v>Kypr</c:v>
                </c:pt>
                <c:pt idx="6">
                  <c:v>Velká Británie</c:v>
                </c:pt>
                <c:pt idx="7">
                  <c:v>Itálie</c:v>
                </c:pt>
                <c:pt idx="8">
                  <c:v>Slovinsko</c:v>
                </c:pt>
                <c:pt idx="9">
                  <c:v>Rumunsko</c:v>
                </c:pt>
                <c:pt idx="10">
                  <c:v>Německo</c:v>
                </c:pt>
                <c:pt idx="11">
                  <c:v>Španělsko</c:v>
                </c:pt>
                <c:pt idx="12">
                  <c:v>Portugalsko</c:v>
                </c:pt>
                <c:pt idx="13">
                  <c:v>Finsko</c:v>
                </c:pt>
                <c:pt idx="14">
                  <c:v>Chorvatsko</c:v>
                </c:pt>
                <c:pt idx="15">
                  <c:v>Řecko</c:v>
                </c:pt>
                <c:pt idx="16">
                  <c:v>Česká republika</c:v>
                </c:pt>
                <c:pt idx="17">
                  <c:v>Slovensko</c:v>
                </c:pt>
                <c:pt idx="18">
                  <c:v>Estonsko</c:v>
                </c:pt>
                <c:pt idx="19">
                  <c:v>Bulharsko</c:v>
                </c:pt>
                <c:pt idx="20">
                  <c:v>Rakousko</c:v>
                </c:pt>
                <c:pt idx="21">
                  <c:v>Nizozemsko</c:v>
                </c:pt>
                <c:pt idx="22">
                  <c:v>Belgie</c:v>
                </c:pt>
                <c:pt idx="23">
                  <c:v>Polsko</c:v>
                </c:pt>
                <c:pt idx="24">
                  <c:v>Dánsko</c:v>
                </c:pt>
                <c:pt idx="25">
                  <c:v>Lotyšsko</c:v>
                </c:pt>
                <c:pt idx="26">
                  <c:v>Litva</c:v>
                </c:pt>
                <c:pt idx="27">
                  <c:v>Norsko</c:v>
                </c:pt>
                <c:pt idx="28">
                  <c:v>Island</c:v>
                </c:pt>
                <c:pt idx="29">
                  <c:v>Lichtenštejnsko</c:v>
                </c:pt>
                <c:pt idx="30">
                  <c:v>Švéd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4522366364060229</c:v>
                </c:pt>
                <c:pt idx="1">
                  <c:v>1.4289690326587514</c:v>
                </c:pt>
                <c:pt idx="2">
                  <c:v>1.3483735571878279</c:v>
                </c:pt>
                <c:pt idx="3">
                  <c:v>1.2740869565217392</c:v>
                </c:pt>
                <c:pt idx="4">
                  <c:v>1.2394024514811031</c:v>
                </c:pt>
                <c:pt idx="5">
                  <c:v>1.1434243964421855</c:v>
                </c:pt>
                <c:pt idx="6">
                  <c:v>1.0941188738741803</c:v>
                </c:pt>
                <c:pt idx="7">
                  <c:v>1.0295658866490904</c:v>
                </c:pt>
                <c:pt idx="8">
                  <c:v>1.0289953859060403</c:v>
                </c:pt>
                <c:pt idx="9">
                  <c:v>1.0138183383555748</c:v>
                </c:pt>
                <c:pt idx="10">
                  <c:v>0.98390711278210896</c:v>
                </c:pt>
                <c:pt idx="11">
                  <c:v>0.97250205862256245</c:v>
                </c:pt>
                <c:pt idx="12">
                  <c:v>0.95435783773740157</c:v>
                </c:pt>
                <c:pt idx="13">
                  <c:v>0.94593712385498907</c:v>
                </c:pt>
                <c:pt idx="14">
                  <c:v>0.94551101072840205</c:v>
                </c:pt>
                <c:pt idx="15">
                  <c:v>0.94344093949128438</c:v>
                </c:pt>
                <c:pt idx="16">
                  <c:v>0.922134182464455</c:v>
                </c:pt>
                <c:pt idx="17">
                  <c:v>0.85113709932917336</c:v>
                </c:pt>
                <c:pt idx="18">
                  <c:v>0.8412510258046868</c:v>
                </c:pt>
                <c:pt idx="19">
                  <c:v>0.81365921303518807</c:v>
                </c:pt>
                <c:pt idx="20">
                  <c:v>0.78657296915053476</c:v>
                </c:pt>
                <c:pt idx="21">
                  <c:v>0.71179088006011082</c:v>
                </c:pt>
                <c:pt idx="22">
                  <c:v>0.71015272253754369</c:v>
                </c:pt>
                <c:pt idx="23">
                  <c:v>0.7049777815159034</c:v>
                </c:pt>
                <c:pt idx="24">
                  <c:v>0.69203329369797861</c:v>
                </c:pt>
                <c:pt idx="25">
                  <c:v>0.6822521078670476</c:v>
                </c:pt>
                <c:pt idx="26">
                  <c:v>0.63521421862582184</c:v>
                </c:pt>
                <c:pt idx="27">
                  <c:v>0.60892240732402825</c:v>
                </c:pt>
                <c:pt idx="28">
                  <c:v>0.55149102381131221</c:v>
                </c:pt>
                <c:pt idx="29">
                  <c:v>0.53562653562653562</c:v>
                </c:pt>
                <c:pt idx="30">
                  <c:v>0.44678348818064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1-454A-B56F-BAAB6C631BA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A1-454A-B56F-BAAB6C631BA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A1-454A-B56F-BAAB6C631BA8}"/>
              </c:ext>
            </c:extLst>
          </c:dPt>
          <c:cat>
            <c:strRef>
              <c:f>List1!$A$2:$A$30</c:f>
              <c:strCache>
                <c:ptCount val="29"/>
                <c:pt idx="0">
                  <c:v>Německo</c:v>
                </c:pt>
                <c:pt idx="1">
                  <c:v>Lichtenštejnsko</c:v>
                </c:pt>
                <c:pt idx="2">
                  <c:v>Nizozemsko</c:v>
                </c:pt>
                <c:pt idx="3">
                  <c:v>Litva</c:v>
                </c:pt>
                <c:pt idx="4">
                  <c:v>Island</c:v>
                </c:pt>
                <c:pt idx="5">
                  <c:v>Finsko</c:v>
                </c:pt>
                <c:pt idx="6">
                  <c:v>Norsko</c:v>
                </c:pt>
                <c:pt idx="7">
                  <c:v>Irsko</c:v>
                </c:pt>
                <c:pt idx="8">
                  <c:v>Lotyšsko</c:v>
                </c:pt>
                <c:pt idx="9">
                  <c:v>Lucembursko</c:v>
                </c:pt>
                <c:pt idx="10">
                  <c:v>Estonsko</c:v>
                </c:pt>
                <c:pt idx="11">
                  <c:v>Slovensko</c:v>
                </c:pt>
                <c:pt idx="12">
                  <c:v>Francie</c:v>
                </c:pt>
                <c:pt idx="13">
                  <c:v>Česká republika</c:v>
                </c:pt>
                <c:pt idx="14">
                  <c:v>Belgie</c:v>
                </c:pt>
                <c:pt idx="15">
                  <c:v>Portugalsko</c:v>
                </c:pt>
                <c:pt idx="16">
                  <c:v>Slovinsko</c:v>
                </c:pt>
                <c:pt idx="17">
                  <c:v>Maďarsko</c:v>
                </c:pt>
                <c:pt idx="18">
                  <c:v>Dánsko</c:v>
                </c:pt>
                <c:pt idx="19">
                  <c:v>Španělsko</c:v>
                </c:pt>
                <c:pt idx="20">
                  <c:v>Itálie</c:v>
                </c:pt>
                <c:pt idx="21">
                  <c:v>Polsko</c:v>
                </c:pt>
                <c:pt idx="22">
                  <c:v>Malta</c:v>
                </c:pt>
                <c:pt idx="23">
                  <c:v>Chorvatsko</c:v>
                </c:pt>
                <c:pt idx="24">
                  <c:v>Bulharsko</c:v>
                </c:pt>
                <c:pt idx="25">
                  <c:v>Rumunsko</c:v>
                </c:pt>
                <c:pt idx="26">
                  <c:v>Kypr</c:v>
                </c:pt>
                <c:pt idx="27">
                  <c:v>Rakousko</c:v>
                </c:pt>
                <c:pt idx="28">
                  <c:v>Řec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65086816886414289</c:v>
                </c:pt>
                <c:pt idx="1">
                  <c:v>0.5238893545683152</c:v>
                </c:pt>
                <c:pt idx="2">
                  <c:v>0.50448288717829393</c:v>
                </c:pt>
                <c:pt idx="3">
                  <c:v>0.44806878848070109</c:v>
                </c:pt>
                <c:pt idx="4">
                  <c:v>0.44659459459459461</c:v>
                </c:pt>
                <c:pt idx="5">
                  <c:v>0.44251244485063862</c:v>
                </c:pt>
                <c:pt idx="6">
                  <c:v>0.44073179505627214</c:v>
                </c:pt>
                <c:pt idx="7">
                  <c:v>0.42548503609515609</c:v>
                </c:pt>
                <c:pt idx="8">
                  <c:v>0.39979465439009043</c:v>
                </c:pt>
                <c:pt idx="9">
                  <c:v>0.39122482210970089</c:v>
                </c:pt>
                <c:pt idx="10">
                  <c:v>0.37673507462686567</c:v>
                </c:pt>
                <c:pt idx="11">
                  <c:v>0.32424991856775764</c:v>
                </c:pt>
                <c:pt idx="12">
                  <c:v>0.28540943128387053</c:v>
                </c:pt>
                <c:pt idx="13">
                  <c:v>0.26316576558765309</c:v>
                </c:pt>
                <c:pt idx="14">
                  <c:v>0.22832738061492527</c:v>
                </c:pt>
                <c:pt idx="15">
                  <c:v>0.21073910025688547</c:v>
                </c:pt>
                <c:pt idx="16">
                  <c:v>0.20857430833661222</c:v>
                </c:pt>
                <c:pt idx="17">
                  <c:v>0.19304500594223117</c:v>
                </c:pt>
                <c:pt idx="18">
                  <c:v>0.18952408101464582</c:v>
                </c:pt>
                <c:pt idx="19">
                  <c:v>0.17870300265551761</c:v>
                </c:pt>
                <c:pt idx="20">
                  <c:v>0.15340176659048532</c:v>
                </c:pt>
                <c:pt idx="21">
                  <c:v>0.13922953734006885</c:v>
                </c:pt>
                <c:pt idx="22">
                  <c:v>0.13427731445371094</c:v>
                </c:pt>
                <c:pt idx="23">
                  <c:v>0.13099183241561535</c:v>
                </c:pt>
                <c:pt idx="24">
                  <c:v>0.11449362586857799</c:v>
                </c:pt>
                <c:pt idx="25">
                  <c:v>0.11206989485586702</c:v>
                </c:pt>
                <c:pt idx="26">
                  <c:v>9.383403648019803E-2</c:v>
                </c:pt>
                <c:pt idx="27">
                  <c:v>5.2062391853302178E-2</c:v>
                </c:pt>
                <c:pt idx="28">
                  <c:v>3.35964389813917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1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Německo</c:v>
                </c:pt>
                <c:pt idx="1">
                  <c:v>Nizozemsko</c:v>
                </c:pt>
                <c:pt idx="2">
                  <c:v>Lichtenštejnsko</c:v>
                </c:pt>
                <c:pt idx="3">
                  <c:v>Irsko</c:v>
                </c:pt>
                <c:pt idx="4">
                  <c:v>Finsko</c:v>
                </c:pt>
                <c:pt idx="5">
                  <c:v>Lucembursko</c:v>
                </c:pt>
                <c:pt idx="6">
                  <c:v>Island</c:v>
                </c:pt>
                <c:pt idx="7">
                  <c:v>Norsko</c:v>
                </c:pt>
                <c:pt idx="8">
                  <c:v>Litva</c:v>
                </c:pt>
                <c:pt idx="9">
                  <c:v>Estonsko</c:v>
                </c:pt>
                <c:pt idx="10">
                  <c:v>Lotyšsko</c:v>
                </c:pt>
                <c:pt idx="11">
                  <c:v>Slovensko</c:v>
                </c:pt>
                <c:pt idx="12">
                  <c:v>Francie</c:v>
                </c:pt>
                <c:pt idx="13">
                  <c:v>Česká republika</c:v>
                </c:pt>
                <c:pt idx="14">
                  <c:v>Portugalsko</c:v>
                </c:pt>
                <c:pt idx="15">
                  <c:v>Slovinsko</c:v>
                </c:pt>
                <c:pt idx="16">
                  <c:v>Maďarsko</c:v>
                </c:pt>
                <c:pt idx="17">
                  <c:v>Belgie</c:v>
                </c:pt>
                <c:pt idx="18">
                  <c:v>Španělsko</c:v>
                </c:pt>
                <c:pt idx="19">
                  <c:v>Dánsko</c:v>
                </c:pt>
                <c:pt idx="20">
                  <c:v>Itálie</c:v>
                </c:pt>
                <c:pt idx="21">
                  <c:v>Malta</c:v>
                </c:pt>
                <c:pt idx="22">
                  <c:v>Chorvatsko</c:v>
                </c:pt>
                <c:pt idx="23">
                  <c:v>Polsko</c:v>
                </c:pt>
                <c:pt idx="24">
                  <c:v>Rumunsko</c:v>
                </c:pt>
                <c:pt idx="25">
                  <c:v>Bulharsko</c:v>
                </c:pt>
                <c:pt idx="26">
                  <c:v>Kypr</c:v>
                </c:pt>
                <c:pt idx="27">
                  <c:v>Rakousko</c:v>
                </c:pt>
                <c:pt idx="28">
                  <c:v>Řec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6347427411170814</c:v>
                </c:pt>
                <c:pt idx="1">
                  <c:v>0.44784747863646701</c:v>
                </c:pt>
                <c:pt idx="2">
                  <c:v>0.56475485661424607</c:v>
                </c:pt>
                <c:pt idx="3">
                  <c:v>0.40391496527046938</c:v>
                </c:pt>
                <c:pt idx="4">
                  <c:v>0.45066887325886085</c:v>
                </c:pt>
                <c:pt idx="5">
                  <c:v>0.38718607870278821</c:v>
                </c:pt>
                <c:pt idx="6">
                  <c:v>0.48756637978392237</c:v>
                </c:pt>
                <c:pt idx="7">
                  <c:v>0.48497861886998456</c:v>
                </c:pt>
                <c:pt idx="8">
                  <c:v>0.50643980973289426</c:v>
                </c:pt>
                <c:pt idx="9">
                  <c:v>0.38154049540773727</c:v>
                </c:pt>
                <c:pt idx="10">
                  <c:v>0.4260290035772068</c:v>
                </c:pt>
                <c:pt idx="11">
                  <c:v>0.3378804803127618</c:v>
                </c:pt>
                <c:pt idx="12">
                  <c:v>0.26569647390814916</c:v>
                </c:pt>
                <c:pt idx="13">
                  <c:v>0.26659427979172323</c:v>
                </c:pt>
                <c:pt idx="14">
                  <c:v>0.20880189772040769</c:v>
                </c:pt>
                <c:pt idx="15">
                  <c:v>0.20737196912036535</c:v>
                </c:pt>
                <c:pt idx="16">
                  <c:v>0.18144811372852207</c:v>
                </c:pt>
                <c:pt idx="17">
                  <c:v>0.26775028517938826</c:v>
                </c:pt>
                <c:pt idx="18">
                  <c:v>0.17225254371047496</c:v>
                </c:pt>
                <c:pt idx="19">
                  <c:v>0.19785948373356227</c:v>
                </c:pt>
                <c:pt idx="20">
                  <c:v>0.15499804085491697</c:v>
                </c:pt>
                <c:pt idx="21">
                  <c:v>0.14053974340067837</c:v>
                </c:pt>
                <c:pt idx="22">
                  <c:v>0.13201639955273947</c:v>
                </c:pt>
                <c:pt idx="23">
                  <c:v>0.15326557051608453</c:v>
                </c:pt>
                <c:pt idx="24">
                  <c:v>0.1104444402183215</c:v>
                </c:pt>
                <c:pt idx="25">
                  <c:v>0.11609047369903812</c:v>
                </c:pt>
                <c:pt idx="26">
                  <c:v>8.6080016406610491E-2</c:v>
                </c:pt>
                <c:pt idx="27">
                  <c:v>5.1458171594492765E-2</c:v>
                </c:pt>
                <c:pt idx="28">
                  <c:v>3.26593230917142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2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Německo</c:v>
                </c:pt>
                <c:pt idx="1">
                  <c:v>Nizozemsko</c:v>
                </c:pt>
                <c:pt idx="2">
                  <c:v>Lichtenštejnsko</c:v>
                </c:pt>
                <c:pt idx="3">
                  <c:v>Irsko</c:v>
                </c:pt>
                <c:pt idx="4">
                  <c:v>Finsko</c:v>
                </c:pt>
                <c:pt idx="5">
                  <c:v>Lucembursko</c:v>
                </c:pt>
                <c:pt idx="6">
                  <c:v>Island</c:v>
                </c:pt>
                <c:pt idx="7">
                  <c:v>Norsko</c:v>
                </c:pt>
                <c:pt idx="8">
                  <c:v>Litva</c:v>
                </c:pt>
                <c:pt idx="9">
                  <c:v>Estonsko</c:v>
                </c:pt>
                <c:pt idx="10">
                  <c:v>Lotyšsko</c:v>
                </c:pt>
                <c:pt idx="11">
                  <c:v>Slovensko</c:v>
                </c:pt>
                <c:pt idx="12">
                  <c:v>Francie</c:v>
                </c:pt>
                <c:pt idx="13">
                  <c:v>Česká republika</c:v>
                </c:pt>
                <c:pt idx="14">
                  <c:v>Portugalsko</c:v>
                </c:pt>
                <c:pt idx="15">
                  <c:v>Slovinsko</c:v>
                </c:pt>
                <c:pt idx="16">
                  <c:v>Maďarsko</c:v>
                </c:pt>
                <c:pt idx="17">
                  <c:v>Belgie</c:v>
                </c:pt>
                <c:pt idx="18">
                  <c:v>Španělsko</c:v>
                </c:pt>
                <c:pt idx="19">
                  <c:v>Dánsko</c:v>
                </c:pt>
                <c:pt idx="20">
                  <c:v>Itálie</c:v>
                </c:pt>
                <c:pt idx="21">
                  <c:v>Malta</c:v>
                </c:pt>
                <c:pt idx="22">
                  <c:v>Chorvatsko</c:v>
                </c:pt>
                <c:pt idx="23">
                  <c:v>Polsko</c:v>
                </c:pt>
                <c:pt idx="24">
                  <c:v>Rumunsko</c:v>
                </c:pt>
                <c:pt idx="25">
                  <c:v>Bulharsko</c:v>
                </c:pt>
                <c:pt idx="26">
                  <c:v>Kypr</c:v>
                </c:pt>
                <c:pt idx="27">
                  <c:v>Rakousko</c:v>
                </c:pt>
                <c:pt idx="28">
                  <c:v>Řecko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66811913043478266</c:v>
                </c:pt>
                <c:pt idx="1">
                  <c:v>0.61347722259324466</c:v>
                </c:pt>
                <c:pt idx="2">
                  <c:v>0.46153846153846156</c:v>
                </c:pt>
                <c:pt idx="3">
                  <c:v>0.44172853925085509</c:v>
                </c:pt>
                <c:pt idx="4">
                  <c:v>0.43420485831476036</c:v>
                </c:pt>
                <c:pt idx="5">
                  <c:v>0.39454538064463684</c:v>
                </c:pt>
                <c:pt idx="6">
                  <c:v>0.38754288730535763</c:v>
                </c:pt>
                <c:pt idx="7">
                  <c:v>0.38330184222957014</c:v>
                </c:pt>
                <c:pt idx="8">
                  <c:v>0.37925431722432312</c:v>
                </c:pt>
                <c:pt idx="9">
                  <c:v>0.37117798519472162</c:v>
                </c:pt>
                <c:pt idx="10">
                  <c:v>0.36669725286043331</c:v>
                </c:pt>
                <c:pt idx="11">
                  <c:v>0.30957689320874771</c:v>
                </c:pt>
                <c:pt idx="12">
                  <c:v>0.30103971908550375</c:v>
                </c:pt>
                <c:pt idx="13">
                  <c:v>0.25954604193588726</c:v>
                </c:pt>
                <c:pt idx="14">
                  <c:v>0.21280789343624315</c:v>
                </c:pt>
                <c:pt idx="15">
                  <c:v>0.2097562018362352</c:v>
                </c:pt>
                <c:pt idx="16">
                  <c:v>0.20324030405592852</c:v>
                </c:pt>
                <c:pt idx="17">
                  <c:v>0.18911726680261287</c:v>
                </c:pt>
                <c:pt idx="18">
                  <c:v>0.18585982035978268</c:v>
                </c:pt>
                <c:pt idx="19">
                  <c:v>0.17864874470903744</c:v>
                </c:pt>
                <c:pt idx="20">
                  <c:v>0.15188249685427668</c:v>
                </c:pt>
                <c:pt idx="21">
                  <c:v>0.12998179243374469</c:v>
                </c:pt>
                <c:pt idx="22">
                  <c:v>0.1299253837499515</c:v>
                </c:pt>
                <c:pt idx="23">
                  <c:v>0.12322238883498476</c:v>
                </c:pt>
                <c:pt idx="24">
                  <c:v>0.11372075617470243</c:v>
                </c:pt>
                <c:pt idx="25">
                  <c:v>0.11259024729557938</c:v>
                </c:pt>
                <c:pt idx="26">
                  <c:v>0.10185846780754565</c:v>
                </c:pt>
                <c:pt idx="27">
                  <c:v>5.2851357439764324E-2</c:v>
                </c:pt>
                <c:pt idx="28">
                  <c:v>3.46502876442905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H$2:$H$40</c:f>
              <c:numCache>
                <c:formatCode>0.0%</c:formatCode>
                <c:ptCount val="39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716124454418693</c:v>
                </c:pt>
                <c:pt idx="28">
                  <c:v>0.32840202472758029</c:v>
                </c:pt>
                <c:pt idx="29">
                  <c:v>0.43336065018207809</c:v>
                </c:pt>
                <c:pt idx="30">
                  <c:v>0.41143866676646473</c:v>
                </c:pt>
                <c:pt idx="31">
                  <c:v>0.3489329030780523</c:v>
                </c:pt>
                <c:pt idx="32">
                  <c:v>0.27073373297699033</c:v>
                </c:pt>
                <c:pt idx="33">
                  <c:v>0.20853698811096433</c:v>
                </c:pt>
                <c:pt idx="34">
                  <c:v>0.1698883137076436</c:v>
                </c:pt>
                <c:pt idx="35">
                  <c:v>0.19516436346115942</c:v>
                </c:pt>
                <c:pt idx="36">
                  <c:v>0.23435619117266426</c:v>
                </c:pt>
                <c:pt idx="37">
                  <c:v>0.26775028517938826</c:v>
                </c:pt>
                <c:pt idx="38">
                  <c:v>0.18911726680261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C$2:$C$40</c:f>
              <c:numCache>
                <c:formatCode>0.0%</c:formatCode>
                <c:ptCount val="39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497488915718883E-2</c:v>
                </c:pt>
                <c:pt idx="26">
                  <c:v>9.868482571603017E-2</c:v>
                </c:pt>
                <c:pt idx="27">
                  <c:v>8.758269378500734E-2</c:v>
                </c:pt>
                <c:pt idx="28">
                  <c:v>0.12104136650204458</c:v>
                </c:pt>
                <c:pt idx="29">
                  <c:v>0.18201052169601076</c:v>
                </c:pt>
                <c:pt idx="30">
                  <c:v>0.23258259295851721</c:v>
                </c:pt>
                <c:pt idx="31">
                  <c:v>0.23945738689390597</c:v>
                </c:pt>
                <c:pt idx="32">
                  <c:v>0.22859989820569618</c:v>
                </c:pt>
                <c:pt idx="33">
                  <c:v>0.20245774095303959</c:v>
                </c:pt>
                <c:pt idx="34">
                  <c:v>0.21162878907608179</c:v>
                </c:pt>
                <c:pt idx="35">
                  <c:v>0.2119005009338783</c:v>
                </c:pt>
                <c:pt idx="36">
                  <c:v>0.23626011834735122</c:v>
                </c:pt>
                <c:pt idx="37">
                  <c:v>0.26659427979172323</c:v>
                </c:pt>
                <c:pt idx="38">
                  <c:v>0.259546041935887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D$2:$D$40</c:f>
              <c:numCache>
                <c:formatCode>0.0%</c:formatCode>
                <c:ptCount val="39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34847520375028</c:v>
                </c:pt>
                <c:pt idx="31">
                  <c:v>0.33387090359491628</c:v>
                </c:pt>
                <c:pt idx="32">
                  <c:v>0.28941657268452214</c:v>
                </c:pt>
                <c:pt idx="33">
                  <c:v>0.24508426908678613</c:v>
                </c:pt>
                <c:pt idx="34">
                  <c:v>0.20915940943915942</c:v>
                </c:pt>
                <c:pt idx="35">
                  <c:v>0.20379597171118383</c:v>
                </c:pt>
                <c:pt idx="36">
                  <c:v>0.24858435271348062</c:v>
                </c:pt>
                <c:pt idx="37">
                  <c:v>0.26569647390814916</c:v>
                </c:pt>
                <c:pt idx="38">
                  <c:v>0.30103971908550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F$2:$F$40</c:f>
              <c:numCache>
                <c:formatCode>0.0%</c:formatCode>
                <c:ptCount val="39"/>
                <c:pt idx="0">
                  <c:v>4.3408098157885376E-3</c:v>
                </c:pt>
                <c:pt idx="1">
                  <c:v>6.8108593800141198E-3</c:v>
                </c:pt>
                <c:pt idx="2">
                  <c:v>1.2609648695592545E-2</c:v>
                </c:pt>
                <c:pt idx="3">
                  <c:v>2.0863076873790815E-2</c:v>
                </c:pt>
                <c:pt idx="4">
                  <c:v>2.5569832545335174E-2</c:v>
                </c:pt>
                <c:pt idx="5">
                  <c:v>2.8072768136666513E-2</c:v>
                </c:pt>
                <c:pt idx="6">
                  <c:v>3.0902234636871508E-2</c:v>
                </c:pt>
                <c:pt idx="7">
                  <c:v>3.146811833628007E-2</c:v>
                </c:pt>
                <c:pt idx="8">
                  <c:v>2.8257319762290012E-2</c:v>
                </c:pt>
                <c:pt idx="9">
                  <c:v>2.1661329421106046E-2</c:v>
                </c:pt>
                <c:pt idx="10">
                  <c:v>1.8084808770974535E-2</c:v>
                </c:pt>
                <c:pt idx="11">
                  <c:v>1.510077522533196E-2</c:v>
                </c:pt>
                <c:pt idx="12">
                  <c:v>1.2233858110901847E-2</c:v>
                </c:pt>
                <c:pt idx="13">
                  <c:v>1.0848527681976311E-2</c:v>
                </c:pt>
                <c:pt idx="14">
                  <c:v>9.4715377234737882E-3</c:v>
                </c:pt>
                <c:pt idx="15">
                  <c:v>7.3469162632053744E-3</c:v>
                </c:pt>
                <c:pt idx="16">
                  <c:v>7.0040055115261094E-3</c:v>
                </c:pt>
                <c:pt idx="17">
                  <c:v>9.6101339143124485E-3</c:v>
                </c:pt>
                <c:pt idx="18">
                  <c:v>1.1687742090966277E-2</c:v>
                </c:pt>
                <c:pt idx="19">
                  <c:v>1.5019348087411023E-2</c:v>
                </c:pt>
                <c:pt idx="20">
                  <c:v>1.7749101212906186E-2</c:v>
                </c:pt>
                <c:pt idx="21">
                  <c:v>2.1410194881521825E-2</c:v>
                </c:pt>
                <c:pt idx="22">
                  <c:v>2.5320089194404895E-2</c:v>
                </c:pt>
                <c:pt idx="23">
                  <c:v>3.1835448177544655E-2</c:v>
                </c:pt>
                <c:pt idx="24">
                  <c:v>3.7392561339494514E-2</c:v>
                </c:pt>
                <c:pt idx="25">
                  <c:v>5.1772223714052108E-2</c:v>
                </c:pt>
                <c:pt idx="26">
                  <c:v>0.1099416169886472</c:v>
                </c:pt>
                <c:pt idx="27">
                  <c:v>0.16770627660435258</c:v>
                </c:pt>
                <c:pt idx="28">
                  <c:v>0.16626931477156651</c:v>
                </c:pt>
                <c:pt idx="29">
                  <c:v>0.1642190960980853</c:v>
                </c:pt>
                <c:pt idx="30">
                  <c:v>0.14421071026949278</c:v>
                </c:pt>
                <c:pt idx="31">
                  <c:v>0.11559724632397134</c:v>
                </c:pt>
                <c:pt idx="32">
                  <c:v>0.10701716404592676</c:v>
                </c:pt>
                <c:pt idx="33">
                  <c:v>0.10565698458504329</c:v>
                </c:pt>
                <c:pt idx="34">
                  <c:v>9.8478015670474747E-2</c:v>
                </c:pt>
                <c:pt idx="35">
                  <c:v>9.8978368136378031E-2</c:v>
                </c:pt>
                <c:pt idx="36">
                  <c:v>0.12484475110360249</c:v>
                </c:pt>
                <c:pt idx="37">
                  <c:v>0.15499804085491697</c:v>
                </c:pt>
                <c:pt idx="38">
                  <c:v>0.1518824968542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J$2:$J$40</c:f>
              <c:numCache>
                <c:formatCode>0.0%</c:formatCode>
                <c:ptCount val="39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  <c:pt idx="33">
                  <c:v>0.29039402488721699</c:v>
                </c:pt>
                <c:pt idx="34">
                  <c:v>0.22802537343973808</c:v>
                </c:pt>
                <c:pt idx="35">
                  <c:v>0.19537587021779396</c:v>
                </c:pt>
                <c:pt idx="36">
                  <c:v>0.16460851287440884</c:v>
                </c:pt>
                <c:pt idx="37">
                  <c:v>0.18144811372852207</c:v>
                </c:pt>
                <c:pt idx="38">
                  <c:v>0.20324030405592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E$2:$E$40</c:f>
              <c:numCache>
                <c:formatCode>0.0%</c:formatCode>
                <c:ptCount val="39"/>
                <c:pt idx="0">
                  <c:v>5.9863450607524444E-3</c:v>
                </c:pt>
                <c:pt idx="1">
                  <c:v>9.0533551098258575E-3</c:v>
                </c:pt>
                <c:pt idx="2">
                  <c:v>1.4871727876937146E-2</c:v>
                </c:pt>
                <c:pt idx="3">
                  <c:v>2.1102034069792486E-2</c:v>
                </c:pt>
                <c:pt idx="4">
                  <c:v>2.6388402167958982E-2</c:v>
                </c:pt>
                <c:pt idx="5">
                  <c:v>3.4343831954768957E-2</c:v>
                </c:pt>
                <c:pt idx="6">
                  <c:v>5.5992261516058399E-2</c:v>
                </c:pt>
                <c:pt idx="7">
                  <c:v>7.1349013013703555E-2</c:v>
                </c:pt>
                <c:pt idx="8">
                  <c:v>7.6620484994130628E-2</c:v>
                </c:pt>
                <c:pt idx="9">
                  <c:v>7.8567126654004671E-2</c:v>
                </c:pt>
                <c:pt idx="10">
                  <c:v>7.0543204821838429E-2</c:v>
                </c:pt>
                <c:pt idx="11">
                  <c:v>6.22768139799924E-2</c:v>
                </c:pt>
                <c:pt idx="12">
                  <c:v>5.5368789601697936E-2</c:v>
                </c:pt>
                <c:pt idx="13">
                  <c:v>5.8220307540091519E-2</c:v>
                </c:pt>
                <c:pt idx="14">
                  <c:v>6.016614510780554E-2</c:v>
                </c:pt>
                <c:pt idx="15">
                  <c:v>7.5629649173968791E-2</c:v>
                </c:pt>
                <c:pt idx="16">
                  <c:v>0.10700516707307592</c:v>
                </c:pt>
                <c:pt idx="17">
                  <c:v>0.11714679939063694</c:v>
                </c:pt>
                <c:pt idx="18">
                  <c:v>0.14852127475709431</c:v>
                </c:pt>
                <c:pt idx="19">
                  <c:v>0.16559747544725967</c:v>
                </c:pt>
                <c:pt idx="20">
                  <c:v>0.18791054911202518</c:v>
                </c:pt>
                <c:pt idx="21">
                  <c:v>0.206517325583122</c:v>
                </c:pt>
                <c:pt idx="22">
                  <c:v>0.19902533143805903</c:v>
                </c:pt>
                <c:pt idx="23">
                  <c:v>0.19408646827109369</c:v>
                </c:pt>
                <c:pt idx="24">
                  <c:v>0.17572158704836185</c:v>
                </c:pt>
                <c:pt idx="25">
                  <c:v>0.15574710520524973</c:v>
                </c:pt>
                <c:pt idx="26">
                  <c:v>0.21734513053201923</c:v>
                </c:pt>
                <c:pt idx="27">
                  <c:v>0.22543886377137812</c:v>
                </c:pt>
                <c:pt idx="28">
                  <c:v>0.23668655765741461</c:v>
                </c:pt>
                <c:pt idx="29">
                  <c:v>0.31528077445845887</c:v>
                </c:pt>
                <c:pt idx="30">
                  <c:v>0.43313414744487744</c:v>
                </c:pt>
                <c:pt idx="31">
                  <c:v>0.49232435544438186</c:v>
                </c:pt>
                <c:pt idx="32">
                  <c:v>0.52484862406321209</c:v>
                </c:pt>
                <c:pt idx="33">
                  <c:v>0.54693292814882166</c:v>
                </c:pt>
                <c:pt idx="34">
                  <c:v>0.54674093807862589</c:v>
                </c:pt>
                <c:pt idx="35">
                  <c:v>0.60013933338849723</c:v>
                </c:pt>
                <c:pt idx="36">
                  <c:v>0.60815738474647341</c:v>
                </c:pt>
                <c:pt idx="37">
                  <c:v>0.6347427411170814</c:v>
                </c:pt>
                <c:pt idx="38">
                  <c:v>0.66811913043478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G$2:$G$40</c:f>
              <c:numCache>
                <c:formatCode>0.0%</c:formatCode>
                <c:ptCount val="39"/>
                <c:pt idx="0">
                  <c:v>1.2664570792401693E-2</c:v>
                </c:pt>
                <c:pt idx="1">
                  <c:v>7.2727847548059665E-2</c:v>
                </c:pt>
                <c:pt idx="2">
                  <c:v>9.4513378846216065E-2</c:v>
                </c:pt>
                <c:pt idx="3">
                  <c:v>4.2831783230702129E-2</c:v>
                </c:pt>
                <c:pt idx="4">
                  <c:v>3.0733414462694352E-2</c:v>
                </c:pt>
                <c:pt idx="5">
                  <c:v>2.7825907177032018E-2</c:v>
                </c:pt>
                <c:pt idx="6">
                  <c:v>3.1658826627053833E-2</c:v>
                </c:pt>
                <c:pt idx="7">
                  <c:v>3.5897827627619984E-2</c:v>
                </c:pt>
                <c:pt idx="8">
                  <c:v>4.3226953019873879E-2</c:v>
                </c:pt>
                <c:pt idx="9">
                  <c:v>4.5557040469347422E-2</c:v>
                </c:pt>
                <c:pt idx="10">
                  <c:v>4.3039102347891683E-2</c:v>
                </c:pt>
                <c:pt idx="11">
                  <c:v>3.6923409141183784E-2</c:v>
                </c:pt>
                <c:pt idx="12">
                  <c:v>2.4035884092889627E-2</c:v>
                </c:pt>
                <c:pt idx="13">
                  <c:v>2.0344820293002074E-2</c:v>
                </c:pt>
                <c:pt idx="14">
                  <c:v>3.3618541147443969E-2</c:v>
                </c:pt>
                <c:pt idx="15">
                  <c:v>3.4936066849191406E-2</c:v>
                </c:pt>
                <c:pt idx="16">
                  <c:v>4.5092329940846172E-2</c:v>
                </c:pt>
                <c:pt idx="17">
                  <c:v>6.2254394775862025E-2</c:v>
                </c:pt>
                <c:pt idx="18">
                  <c:v>7.3598718462154586E-2</c:v>
                </c:pt>
                <c:pt idx="19">
                  <c:v>8.4869522714724061E-2</c:v>
                </c:pt>
                <c:pt idx="20">
                  <c:v>0.11661000003967326</c:v>
                </c:pt>
                <c:pt idx="21">
                  <c:v>0.11914671940271572</c:v>
                </c:pt>
                <c:pt idx="22">
                  <c:v>0.13478692212980434</c:v>
                </c:pt>
                <c:pt idx="23">
                  <c:v>0.13769457786007755</c:v>
                </c:pt>
                <c:pt idx="24">
                  <c:v>0.13153994866617841</c:v>
                </c:pt>
                <c:pt idx="25">
                  <c:v>0.14066947389983497</c:v>
                </c:pt>
                <c:pt idx="26">
                  <c:v>0.18941260556360148</c:v>
                </c:pt>
                <c:pt idx="27">
                  <c:v>0.25260560653662567</c:v>
                </c:pt>
                <c:pt idx="28">
                  <c:v>0.27764302685649833</c:v>
                </c:pt>
                <c:pt idx="29">
                  <c:v>0.34742479601399512</c:v>
                </c:pt>
                <c:pt idx="30">
                  <c:v>0.3949662544788583</c:v>
                </c:pt>
                <c:pt idx="31">
                  <c:v>0.43658869853391169</c:v>
                </c:pt>
                <c:pt idx="32">
                  <c:v>0.4054117629240615</c:v>
                </c:pt>
                <c:pt idx="33">
                  <c:v>0.36554875066655307</c:v>
                </c:pt>
                <c:pt idx="34">
                  <c:v>0.33268273537546839</c:v>
                </c:pt>
                <c:pt idx="35">
                  <c:v>0.52812495596668974</c:v>
                </c:pt>
                <c:pt idx="36">
                  <c:v>0.47576717837571325</c:v>
                </c:pt>
                <c:pt idx="37">
                  <c:v>0.44784747863646701</c:v>
                </c:pt>
                <c:pt idx="38">
                  <c:v>0.61347722259324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I$2:$I$40</c:f>
              <c:numCache>
                <c:formatCode>0.0%</c:formatCode>
                <c:ptCount val="39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  <c:pt idx="33">
                  <c:v>0.21960378876622533</c:v>
                </c:pt>
                <c:pt idx="34">
                  <c:v>0.18787704109747963</c:v>
                </c:pt>
                <c:pt idx="35">
                  <c:v>0.16463584687441044</c:v>
                </c:pt>
                <c:pt idx="36">
                  <c:v>0.16055372600283233</c:v>
                </c:pt>
                <c:pt idx="37">
                  <c:v>0.15326557051608453</c:v>
                </c:pt>
                <c:pt idx="38">
                  <c:v>0.12322238883498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B$2:$B$40</c:f>
              <c:numCache>
                <c:formatCode>0.0%</c:formatCode>
                <c:ptCount val="39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0056098766094E-3</c:v>
                </c:pt>
                <c:pt idx="12">
                  <c:v>3.7184898056857522E-3</c:v>
                </c:pt>
                <c:pt idx="13">
                  <c:v>4.1767487026011648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2300327374589E-3</c:v>
                </c:pt>
                <c:pt idx="17">
                  <c:v>1.1246294633142253E-2</c:v>
                </c:pt>
                <c:pt idx="18">
                  <c:v>1.1862362084110846E-2</c:v>
                </c:pt>
                <c:pt idx="19">
                  <c:v>1.8289901305118796E-2</c:v>
                </c:pt>
                <c:pt idx="20">
                  <c:v>1.6461207562456292E-2</c:v>
                </c:pt>
                <c:pt idx="21">
                  <c:v>1.0562943044960632E-2</c:v>
                </c:pt>
                <c:pt idx="22">
                  <c:v>8.4512810361085551E-3</c:v>
                </c:pt>
                <c:pt idx="23">
                  <c:v>5.7847750232577324E-3</c:v>
                </c:pt>
                <c:pt idx="24">
                  <c:v>3.1485708829886035E-3</c:v>
                </c:pt>
                <c:pt idx="25">
                  <c:v>3.068613133177894E-3</c:v>
                </c:pt>
                <c:pt idx="26">
                  <c:v>4.7753666062073158E-3</c:v>
                </c:pt>
                <c:pt idx="27">
                  <c:v>1.498984818703231E-2</c:v>
                </c:pt>
                <c:pt idx="28">
                  <c:v>1.394991405593265E-2</c:v>
                </c:pt>
                <c:pt idx="29">
                  <c:v>2.2645218323759143E-2</c:v>
                </c:pt>
                <c:pt idx="30">
                  <c:v>2.8675095346389456E-2</c:v>
                </c:pt>
                <c:pt idx="31">
                  <c:v>2.9196519571732745E-2</c:v>
                </c:pt>
                <c:pt idx="32">
                  <c:v>3.5410049846169148E-2</c:v>
                </c:pt>
                <c:pt idx="33">
                  <c:v>3.1546346213211063E-2</c:v>
                </c:pt>
                <c:pt idx="34">
                  <c:v>3.2523194977816541E-2</c:v>
                </c:pt>
                <c:pt idx="35">
                  <c:v>3.7524154116247981E-2</c:v>
                </c:pt>
                <c:pt idx="36">
                  <c:v>5.1193064417610859E-2</c:v>
                </c:pt>
                <c:pt idx="37">
                  <c:v>5.1458171594492765E-2</c:v>
                </c:pt>
                <c:pt idx="38">
                  <c:v>5.285135743976432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K$2:$K$40</c:f>
              <c:numCache>
                <c:formatCode>0.0%</c:formatCode>
                <c:ptCount val="39"/>
                <c:pt idx="0">
                  <c:v>1.3708019191226869E-3</c:v>
                </c:pt>
                <c:pt idx="1">
                  <c:v>2.9682213504369304E-3</c:v>
                </c:pt>
                <c:pt idx="2">
                  <c:v>2.5963054161815763E-3</c:v>
                </c:pt>
                <c:pt idx="3">
                  <c:v>3.5061782656903976E-3</c:v>
                </c:pt>
                <c:pt idx="4">
                  <c:v>4.7498886744841914E-3</c:v>
                </c:pt>
                <c:pt idx="5">
                  <c:v>5.1257273701237321E-3</c:v>
                </c:pt>
                <c:pt idx="6">
                  <c:v>6.5138697024391722E-3</c:v>
                </c:pt>
                <c:pt idx="7">
                  <c:v>7.3607007176023642E-3</c:v>
                </c:pt>
                <c:pt idx="8">
                  <c:v>9.2600019607318885E-3</c:v>
                </c:pt>
                <c:pt idx="9">
                  <c:v>1.3835053166413494E-2</c:v>
                </c:pt>
                <c:pt idx="10">
                  <c:v>2.0804985198802573E-2</c:v>
                </c:pt>
                <c:pt idx="11">
                  <c:v>3.3823368768433823E-2</c:v>
                </c:pt>
                <c:pt idx="12">
                  <c:v>3.5517571423411706E-2</c:v>
                </c:pt>
                <c:pt idx="13">
                  <c:v>4.5746711736168275E-2</c:v>
                </c:pt>
                <c:pt idx="14">
                  <c:v>5.3971469781479535E-2</c:v>
                </c:pt>
                <c:pt idx="15">
                  <c:v>6.5025118227487688E-2</c:v>
                </c:pt>
                <c:pt idx="16">
                  <c:v>9.5992271761579401E-2</c:v>
                </c:pt>
                <c:pt idx="17">
                  <c:v>0.12982183664253752</c:v>
                </c:pt>
                <c:pt idx="18">
                  <c:v>0.15858531887595945</c:v>
                </c:pt>
                <c:pt idx="19">
                  <c:v>0.15599820247264518</c:v>
                </c:pt>
                <c:pt idx="20">
                  <c:v>0.17430759597321901</c:v>
                </c:pt>
                <c:pt idx="21">
                  <c:v>0.16346405461362451</c:v>
                </c:pt>
                <c:pt idx="22">
                  <c:v>0.15617960275710047</c:v>
                </c:pt>
                <c:pt idx="23">
                  <c:v>0.14386429132826828</c:v>
                </c:pt>
                <c:pt idx="24">
                  <c:v>0.1119603663327295</c:v>
                </c:pt>
                <c:pt idx="25">
                  <c:v>0.10550925424829527</c:v>
                </c:pt>
                <c:pt idx="26">
                  <c:v>0.10641741595389369</c:v>
                </c:pt>
                <c:pt idx="27">
                  <c:v>8.1479486085856881E-2</c:v>
                </c:pt>
                <c:pt idx="28">
                  <c:v>7.423805418675522E-2</c:v>
                </c:pt>
                <c:pt idx="29">
                  <c:v>0.14459023711213048</c:v>
                </c:pt>
                <c:pt idx="30">
                  <c:v>0.23476712813481357</c:v>
                </c:pt>
                <c:pt idx="31">
                  <c:v>0.3010851275851929</c:v>
                </c:pt>
                <c:pt idx="32">
                  <c:v>0.34554977366375866</c:v>
                </c:pt>
                <c:pt idx="33">
                  <c:v>0.34452528996325932</c:v>
                </c:pt>
                <c:pt idx="34">
                  <c:v>0.3262132843893486</c:v>
                </c:pt>
                <c:pt idx="35">
                  <c:v>0.31476048253757821</c:v>
                </c:pt>
                <c:pt idx="36">
                  <c:v>0.33416920463739141</c:v>
                </c:pt>
                <c:pt idx="37">
                  <c:v>0.3378804803127618</c:v>
                </c:pt>
                <c:pt idx="38">
                  <c:v>0.309576893208747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0</c:f>
              <c:numCache>
                <c:formatCode>0.0%</c:formatCode>
                <c:ptCount val="39"/>
                <c:pt idx="0">
                  <c:v>9.376455159699322E-2</c:v>
                </c:pt>
                <c:pt idx="1">
                  <c:v>0.12833967881400074</c:v>
                </c:pt>
                <c:pt idx="2">
                  <c:v>0.14453326087614812</c:v>
                </c:pt>
                <c:pt idx="3">
                  <c:v>0.14609441884634827</c:v>
                </c:pt>
                <c:pt idx="4">
                  <c:v>0.13038141260375974</c:v>
                </c:pt>
                <c:pt idx="5">
                  <c:v>0.1155556244694171</c:v>
                </c:pt>
                <c:pt idx="6">
                  <c:v>0.10164222045952595</c:v>
                </c:pt>
                <c:pt idx="7">
                  <c:v>8.804832634934831E-2</c:v>
                </c:pt>
                <c:pt idx="8">
                  <c:v>7.1301394704738036E-2</c:v>
                </c:pt>
                <c:pt idx="9">
                  <c:v>4.9580240905219612E-2</c:v>
                </c:pt>
                <c:pt idx="10">
                  <c:v>3.7513414965282717E-2</c:v>
                </c:pt>
                <c:pt idx="11">
                  <c:v>2.8368400335221068E-2</c:v>
                </c:pt>
                <c:pt idx="12">
                  <c:v>2.2597079877251201E-2</c:v>
                </c:pt>
                <c:pt idx="13">
                  <c:v>1.8400583300305869E-2</c:v>
                </c:pt>
                <c:pt idx="14">
                  <c:v>1.8180575130950626E-2</c:v>
                </c:pt>
                <c:pt idx="15">
                  <c:v>1.9872290949331361E-2</c:v>
                </c:pt>
                <c:pt idx="16">
                  <c:v>2.1729916422051129E-2</c:v>
                </c:pt>
                <c:pt idx="17">
                  <c:v>2.3952202603887997E-2</c:v>
                </c:pt>
                <c:pt idx="18">
                  <c:v>2.9996206323666001E-2</c:v>
                </c:pt>
                <c:pt idx="19">
                  <c:v>3.9689151829454754E-2</c:v>
                </c:pt>
                <c:pt idx="20">
                  <c:v>5.3805249770385408E-2</c:v>
                </c:pt>
                <c:pt idx="21">
                  <c:v>6.6432820263992595E-2</c:v>
                </c:pt>
                <c:pt idx="22">
                  <c:v>8.1552425323004482E-2</c:v>
                </c:pt>
                <c:pt idx="23">
                  <c:v>0.11176323882333647</c:v>
                </c:pt>
                <c:pt idx="24">
                  <c:v>0.14389063679838912</c:v>
                </c:pt>
                <c:pt idx="25">
                  <c:v>0.21354720794794235</c:v>
                </c:pt>
                <c:pt idx="26">
                  <c:v>0.31198345061622534</c:v>
                </c:pt>
                <c:pt idx="27">
                  <c:v>0.39602833336466764</c:v>
                </c:pt>
                <c:pt idx="28">
                  <c:v>0.38646024073524377</c:v>
                </c:pt>
                <c:pt idx="29">
                  <c:v>0.37766800774713716</c:v>
                </c:pt>
                <c:pt idx="30">
                  <c:v>0.34806829655453025</c:v>
                </c:pt>
                <c:pt idx="31">
                  <c:v>0.2872360923987084</c:v>
                </c:pt>
                <c:pt idx="32">
                  <c:v>0.2429227054107414</c:v>
                </c:pt>
                <c:pt idx="33">
                  <c:v>0.19174160450151748</c:v>
                </c:pt>
                <c:pt idx="34">
                  <c:v>0.16404908130548296</c:v>
                </c:pt>
                <c:pt idx="35">
                  <c:v>0.16288627026962801</c:v>
                </c:pt>
                <c:pt idx="36">
                  <c:v>0.16082294127504587</c:v>
                </c:pt>
                <c:pt idx="37">
                  <c:v>0.17225254371047496</c:v>
                </c:pt>
                <c:pt idx="38">
                  <c:v>0.18585982035978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I$2:$I$40</c:f>
              <c:numCache>
                <c:formatCode>General</c:formatCode>
                <c:ptCount val="39"/>
                <c:pt idx="0">
                  <c:v>0.37318484626520076</c:v>
                </c:pt>
                <c:pt idx="1">
                  <c:v>0.26036152065014007</c:v>
                </c:pt>
                <c:pt idx="2">
                  <c:v>0.14753819503507937</c:v>
                </c:pt>
                <c:pt idx="3">
                  <c:v>0.15621691239008403</c:v>
                </c:pt>
                <c:pt idx="4">
                  <c:v>0.2777189553601494</c:v>
                </c:pt>
                <c:pt idx="5">
                  <c:v>0.3818635636202054</c:v>
                </c:pt>
                <c:pt idx="6">
                  <c:v>0.3905422809752101</c:v>
                </c:pt>
                <c:pt idx="7">
                  <c:v>0.5467591933652941</c:v>
                </c:pt>
                <c:pt idx="8">
                  <c:v>0.63354636691534083</c:v>
                </c:pt>
                <c:pt idx="9">
                  <c:v>0.62486764956033614</c:v>
                </c:pt>
                <c:pt idx="10">
                  <c:v>0.76372712724041081</c:v>
                </c:pt>
                <c:pt idx="11">
                  <c:v>0.75504840988540622</c:v>
                </c:pt>
                <c:pt idx="12">
                  <c:v>0.80712071401543428</c:v>
                </c:pt>
                <c:pt idx="13">
                  <c:v>0.95465890905051365</c:v>
                </c:pt>
                <c:pt idx="14">
                  <c:v>1.0240886478905511</c:v>
                </c:pt>
                <c:pt idx="15">
                  <c:v>1.3278437553157143</c:v>
                </c:pt>
                <c:pt idx="16">
                  <c:v>1.7270647536459289</c:v>
                </c:pt>
                <c:pt idx="17">
                  <c:v>2.2304303602362001</c:v>
                </c:pt>
                <c:pt idx="18">
                  <c:v>2.6209726412114103</c:v>
                </c:pt>
                <c:pt idx="19">
                  <c:v>3.0288723568966294</c:v>
                </c:pt>
                <c:pt idx="20">
                  <c:v>3.9574951138821293</c:v>
                </c:pt>
                <c:pt idx="21">
                  <c:v>4.8340455667376006</c:v>
                </c:pt>
                <c:pt idx="22">
                  <c:v>5.6151301286880209</c:v>
                </c:pt>
                <c:pt idx="23">
                  <c:v>5.7279534543030817</c:v>
                </c:pt>
                <c:pt idx="24">
                  <c:v>4.8600817188026149</c:v>
                </c:pt>
                <c:pt idx="25">
                  <c:v>4.0616397221421847</c:v>
                </c:pt>
                <c:pt idx="26">
                  <c:v>3.2371615734167416</c:v>
                </c:pt>
                <c:pt idx="27">
                  <c:v>2.4734344461763307</c:v>
                </c:pt>
                <c:pt idx="28">
                  <c:v>2.334574968496256</c:v>
                </c:pt>
                <c:pt idx="29">
                  <c:v>2.7337959668264706</c:v>
                </c:pt>
                <c:pt idx="30">
                  <c:v>3.5322379634869003</c:v>
                </c:pt>
                <c:pt idx="31">
                  <c:v>4.6170776328624843</c:v>
                </c:pt>
                <c:pt idx="32">
                  <c:v>5.3981621948129046</c:v>
                </c:pt>
                <c:pt idx="33">
                  <c:v>5.1204432394527544</c:v>
                </c:pt>
                <c:pt idx="34">
                  <c:v>3.7318484626520076</c:v>
                </c:pt>
                <c:pt idx="35">
                  <c:v>2.412683424691298</c:v>
                </c:pt>
                <c:pt idx="36">
                  <c:v>2.2130729255261907</c:v>
                </c:pt>
                <c:pt idx="37">
                  <c:v>2.334574968496256</c:v>
                </c:pt>
                <c:pt idx="38">
                  <c:v>2.39532598998128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C$2:$C$40</c:f>
              <c:numCache>
                <c:formatCode>General</c:formatCode>
                <c:ptCount val="39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35052818236573</c:v>
                </c:pt>
                <c:pt idx="21">
                  <c:v>13.58713566628723</c:v>
                </c:pt>
                <c:pt idx="22">
                  <c:v>14.961746088134598</c:v>
                </c:pt>
                <c:pt idx="23">
                  <c:v>15.382545196863381</c:v>
                </c:pt>
                <c:pt idx="24">
                  <c:v>14.28846751416854</c:v>
                </c:pt>
                <c:pt idx="25">
                  <c:v>11.744970679185659</c:v>
                </c:pt>
                <c:pt idx="26">
                  <c:v>8.8741856485248327</c:v>
                </c:pt>
                <c:pt idx="27">
                  <c:v>6.9198075657622509</c:v>
                </c:pt>
                <c:pt idx="28">
                  <c:v>5.3581753178132026</c:v>
                </c:pt>
                <c:pt idx="29">
                  <c:v>3.7684897959489012</c:v>
                </c:pt>
                <c:pt idx="30">
                  <c:v>3.0297535828472562</c:v>
                </c:pt>
                <c:pt idx="31">
                  <c:v>4.3950129133895377</c:v>
                </c:pt>
                <c:pt idx="32">
                  <c:v>6.5364128222538023</c:v>
                </c:pt>
                <c:pt idx="33">
                  <c:v>7.1068293918639336</c:v>
                </c:pt>
                <c:pt idx="34">
                  <c:v>6.676679191830063</c:v>
                </c:pt>
                <c:pt idx="35">
                  <c:v>5.8724853395928296</c:v>
                </c:pt>
                <c:pt idx="36">
                  <c:v>4.5352792829657993</c:v>
                </c:pt>
                <c:pt idx="37">
                  <c:v>3.6188723350675556</c:v>
                </c:pt>
                <c:pt idx="38">
                  <c:v>3.3850950524404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D$2:$D$40</c:f>
              <c:numCache>
                <c:formatCode>General</c:formatCode>
                <c:ptCount val="39"/>
                <c:pt idx="0">
                  <c:v>0.68775774575649018</c:v>
                </c:pt>
                <c:pt idx="1">
                  <c:v>0.55555377303008058</c:v>
                </c:pt>
                <c:pt idx="2">
                  <c:v>0.42929155188688051</c:v>
                </c:pt>
                <c:pt idx="3">
                  <c:v>0.40255366976243806</c:v>
                </c:pt>
                <c:pt idx="4">
                  <c:v>0.66101986363204779</c:v>
                </c:pt>
                <c:pt idx="5">
                  <c:v>0.98038901122955391</c:v>
                </c:pt>
                <c:pt idx="6">
                  <c:v>1.256680459848792</c:v>
                </c:pt>
                <c:pt idx="7">
                  <c:v>1.9815741530003408</c:v>
                </c:pt>
                <c:pt idx="8">
                  <c:v>2.397496763825</c:v>
                </c:pt>
                <c:pt idx="9">
                  <c:v>2.1791373931420543</c:v>
                </c:pt>
                <c:pt idx="10">
                  <c:v>1.9845450287919457</c:v>
                </c:pt>
                <c:pt idx="11">
                  <c:v>1.6933992012146841</c:v>
                </c:pt>
                <c:pt idx="12">
                  <c:v>1.3784863673045851</c:v>
                </c:pt>
                <c:pt idx="13">
                  <c:v>1.1378454281846035</c:v>
                </c:pt>
                <c:pt idx="14">
                  <c:v>0.888291861689808</c:v>
                </c:pt>
                <c:pt idx="15">
                  <c:v>0.68627230786068771</c:v>
                </c:pt>
                <c:pt idx="16">
                  <c:v>0.61348585096637243</c:v>
                </c:pt>
                <c:pt idx="17">
                  <c:v>0.61645672675797714</c:v>
                </c:pt>
                <c:pt idx="18">
                  <c:v>0.67290336679846663</c:v>
                </c:pt>
                <c:pt idx="19">
                  <c:v>0.7397480721095725</c:v>
                </c:pt>
                <c:pt idx="20">
                  <c:v>0.87640835852338905</c:v>
                </c:pt>
                <c:pt idx="21">
                  <c:v>1.2046901334957094</c:v>
                </c:pt>
                <c:pt idx="22">
                  <c:v>1.6859720117356725</c:v>
                </c:pt>
                <c:pt idx="23">
                  <c:v>2.3781860711795693</c:v>
                </c:pt>
                <c:pt idx="24">
                  <c:v>3.0109826147913727</c:v>
                </c:pt>
                <c:pt idx="25">
                  <c:v>3.3897692782209732</c:v>
                </c:pt>
                <c:pt idx="26">
                  <c:v>3.822031705899458</c:v>
                </c:pt>
                <c:pt idx="27">
                  <c:v>4.346391283117689</c:v>
                </c:pt>
                <c:pt idx="28">
                  <c:v>4.6642749928193927</c:v>
                </c:pt>
                <c:pt idx="29">
                  <c:v>5.0014693951665272</c:v>
                </c:pt>
                <c:pt idx="30">
                  <c:v>5.7382465914844953</c:v>
                </c:pt>
                <c:pt idx="31">
                  <c:v>6.2611207308069243</c:v>
                </c:pt>
                <c:pt idx="32">
                  <c:v>6.3547033182424721</c:v>
                </c:pt>
                <c:pt idx="33">
                  <c:v>5.9476933347926275</c:v>
                </c:pt>
                <c:pt idx="34">
                  <c:v>4.936110127751224</c:v>
                </c:pt>
                <c:pt idx="35">
                  <c:v>3.9081871038559943</c:v>
                </c:pt>
                <c:pt idx="36">
                  <c:v>3.0273224316451985</c:v>
                </c:pt>
                <c:pt idx="37">
                  <c:v>2.5311861744472122</c:v>
                </c:pt>
                <c:pt idx="38">
                  <c:v>2.3677880059089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F$2:$F$40</c:f>
              <c:numCache>
                <c:formatCode>General</c:formatCode>
                <c:ptCount val="39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198366881792085</c:v>
                </c:pt>
                <c:pt idx="5">
                  <c:v>0.45438168812957846</c:v>
                </c:pt>
                <c:pt idx="6">
                  <c:v>0.61534346695038855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3726702459200895</c:v>
                </c:pt>
                <c:pt idx="19">
                  <c:v>1.1317625073338209</c:v>
                </c:pt>
                <c:pt idx="20">
                  <c:v>1.3279346752716834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2.9844996489691873</c:v>
                </c:pt>
                <c:pt idx="26">
                  <c:v>3.3617538180804609</c:v>
                </c:pt>
                <c:pt idx="27">
                  <c:v>4.0693149708136058</c:v>
                </c:pt>
                <c:pt idx="28">
                  <c:v>5.7979774079412634</c:v>
                </c:pt>
                <c:pt idx="29">
                  <c:v>7.5199331042847222</c:v>
                </c:pt>
                <c:pt idx="30">
                  <c:v>8.4588768140727808</c:v>
                </c:pt>
                <c:pt idx="31">
                  <c:v>8.7992439088709524</c:v>
                </c:pt>
                <c:pt idx="32">
                  <c:v>8.1587501639798123</c:v>
                </c:pt>
                <c:pt idx="33">
                  <c:v>7.0722581569393439</c:v>
                </c:pt>
                <c:pt idx="34">
                  <c:v>5.9438490199976224</c:v>
                </c:pt>
                <c:pt idx="35">
                  <c:v>4.8590336981532047</c:v>
                </c:pt>
                <c:pt idx="36">
                  <c:v>3.869789432483643</c:v>
                </c:pt>
                <c:pt idx="37">
                  <c:v>3.1823485021030997</c:v>
                </c:pt>
                <c:pt idx="38">
                  <c:v>3.2091754652399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K$2:$K$40</c:f>
              <c:numCache>
                <c:formatCode>General</c:formatCode>
                <c:ptCount val="39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716120925416444</c:v>
                </c:pt>
                <c:pt idx="15">
                  <c:v>1.8731717383217978</c:v>
                </c:pt>
                <c:pt idx="16">
                  <c:v>3.3471429422471473</c:v>
                </c:pt>
                <c:pt idx="17">
                  <c:v>6.1415466830222885</c:v>
                </c:pt>
                <c:pt idx="18">
                  <c:v>10.696527139597151</c:v>
                </c:pt>
                <c:pt idx="19">
                  <c:v>15.640472219430093</c:v>
                </c:pt>
                <c:pt idx="20">
                  <c:v>19.182097473306278</c:v>
                </c:pt>
                <c:pt idx="21">
                  <c:v>22.938676861088243</c:v>
                </c:pt>
                <c:pt idx="22">
                  <c:v>26.357471181303985</c:v>
                </c:pt>
                <c:pt idx="23">
                  <c:v>26.214168425366797</c:v>
                </c:pt>
                <c:pt idx="24">
                  <c:v>22.867025483119654</c:v>
                </c:pt>
                <c:pt idx="25">
                  <c:v>18.946671517123757</c:v>
                </c:pt>
                <c:pt idx="26">
                  <c:v>15.057025284542975</c:v>
                </c:pt>
                <c:pt idx="27">
                  <c:v>11.566579586358642</c:v>
                </c:pt>
                <c:pt idx="28">
                  <c:v>9.4989255364078051</c:v>
                </c:pt>
                <c:pt idx="29">
                  <c:v>8.2194366441114948</c:v>
                </c:pt>
                <c:pt idx="30">
                  <c:v>8.6391090007846838</c:v>
                </c:pt>
                <c:pt idx="31">
                  <c:v>10.942189006918042</c:v>
                </c:pt>
                <c:pt idx="32">
                  <c:v>13.101966257114215</c:v>
                </c:pt>
                <c:pt idx="33">
                  <c:v>13.552346347202516</c:v>
                </c:pt>
                <c:pt idx="34">
                  <c:v>12.753945278409619</c:v>
                </c:pt>
                <c:pt idx="35">
                  <c:v>10.696527139597151</c:v>
                </c:pt>
                <c:pt idx="36">
                  <c:v>7.6871692649162302</c:v>
                </c:pt>
                <c:pt idx="37">
                  <c:v>5.8037616154560618</c:v>
                </c:pt>
                <c:pt idx="38">
                  <c:v>4.8313500573108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E$2:$E$40</c:f>
              <c:numCache>
                <c:formatCode>General</c:formatCode>
                <c:ptCount val="39"/>
                <c:pt idx="0">
                  <c:v>0.28617219214067513</c:v>
                </c:pt>
                <c:pt idx="1">
                  <c:v>0.19118226281666953</c:v>
                </c:pt>
                <c:pt idx="2">
                  <c:v>0.14188369190167927</c:v>
                </c:pt>
                <c:pt idx="3">
                  <c:v>0.15150292525094566</c:v>
                </c:pt>
                <c:pt idx="4">
                  <c:v>0.14068128773302097</c:v>
                </c:pt>
                <c:pt idx="5">
                  <c:v>0.128657246046438</c:v>
                </c:pt>
                <c:pt idx="6">
                  <c:v>0.16352696693752863</c:v>
                </c:pt>
                <c:pt idx="7">
                  <c:v>0.24769525874360956</c:v>
                </c:pt>
                <c:pt idx="8">
                  <c:v>0.34989961307956496</c:v>
                </c:pt>
                <c:pt idx="9">
                  <c:v>0.52064100502904342</c:v>
                </c:pt>
                <c:pt idx="10">
                  <c:v>0.72024009702632097</c:v>
                </c:pt>
                <c:pt idx="11">
                  <c:v>0.91863678485494027</c:v>
                </c:pt>
                <c:pt idx="12">
                  <c:v>1.0232459475282123</c:v>
                </c:pt>
                <c:pt idx="13">
                  <c:v>0.96793535576993051</c:v>
                </c:pt>
                <c:pt idx="14">
                  <c:v>0.95110169740871431</c:v>
                </c:pt>
                <c:pt idx="15">
                  <c:v>1.029257968371504</c:v>
                </c:pt>
                <c:pt idx="16">
                  <c:v>1.2685363979345052</c:v>
                </c:pt>
                <c:pt idx="17">
                  <c:v>1.74589085289185</c:v>
                </c:pt>
                <c:pt idx="18">
                  <c:v>2.4637261415808545</c:v>
                </c:pt>
                <c:pt idx="19">
                  <c:v>3.3354691638581211</c:v>
                </c:pt>
                <c:pt idx="20">
                  <c:v>4.2757492237489112</c:v>
                </c:pt>
                <c:pt idx="21">
                  <c:v>5.3567105713727212</c:v>
                </c:pt>
                <c:pt idx="22">
                  <c:v>6.3607180522024009</c:v>
                </c:pt>
                <c:pt idx="23">
                  <c:v>6.5470906983444372</c:v>
                </c:pt>
                <c:pt idx="24">
                  <c:v>6.16352376854244</c:v>
                </c:pt>
                <c:pt idx="25">
                  <c:v>5.4324620339981946</c:v>
                </c:pt>
                <c:pt idx="26">
                  <c:v>4.3142261571459768</c:v>
                </c:pt>
                <c:pt idx="27">
                  <c:v>3.3426835888700706</c:v>
                </c:pt>
                <c:pt idx="28">
                  <c:v>2.5755497292660761</c:v>
                </c:pt>
                <c:pt idx="29">
                  <c:v>2.1318625910311639</c:v>
                </c:pt>
                <c:pt idx="30">
                  <c:v>2.0500991075623998</c:v>
                </c:pt>
                <c:pt idx="31">
                  <c:v>2.2725438787641847</c:v>
                </c:pt>
                <c:pt idx="32">
                  <c:v>2.7258502503483637</c:v>
                </c:pt>
                <c:pt idx="33">
                  <c:v>3.2152287469922913</c:v>
                </c:pt>
                <c:pt idx="34">
                  <c:v>3.3402787805327541</c:v>
                </c:pt>
                <c:pt idx="35">
                  <c:v>3.1659301760773011</c:v>
                </c:pt>
                <c:pt idx="36">
                  <c:v>2.9026036631411332</c:v>
                </c:pt>
                <c:pt idx="37">
                  <c:v>2.491381437459995</c:v>
                </c:pt>
                <c:pt idx="38">
                  <c:v>1.82524952802329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G$2:$G$40</c:f>
              <c:numCache>
                <c:formatCode>General</c:formatCode>
                <c:ptCount val="39"/>
                <c:pt idx="0">
                  <c:v>0.17233866731083031</c:v>
                </c:pt>
                <c:pt idx="1">
                  <c:v>0.1436155560923586</c:v>
                </c:pt>
                <c:pt idx="2">
                  <c:v>0.11489244487388686</c:v>
                </c:pt>
                <c:pt idx="3">
                  <c:v>0.1953171562856077</c:v>
                </c:pt>
                <c:pt idx="4">
                  <c:v>0.30446497891580021</c:v>
                </c:pt>
                <c:pt idx="5">
                  <c:v>0.39637893481490971</c:v>
                </c:pt>
                <c:pt idx="6">
                  <c:v>0.45956977949554745</c:v>
                </c:pt>
                <c:pt idx="7">
                  <c:v>0.48254826847032484</c:v>
                </c:pt>
                <c:pt idx="8">
                  <c:v>0.50552675744510223</c:v>
                </c:pt>
                <c:pt idx="9">
                  <c:v>0.48829289071401916</c:v>
                </c:pt>
                <c:pt idx="10">
                  <c:v>0.4193574237896871</c:v>
                </c:pt>
                <c:pt idx="11">
                  <c:v>0.44233591276446449</c:v>
                </c:pt>
                <c:pt idx="12">
                  <c:v>0.46531440173924177</c:v>
                </c:pt>
                <c:pt idx="13">
                  <c:v>0.39063431257121539</c:v>
                </c:pt>
                <c:pt idx="14">
                  <c:v>0.31020960115949459</c:v>
                </c:pt>
                <c:pt idx="15">
                  <c:v>0.3791450680838267</c:v>
                </c:pt>
                <c:pt idx="16">
                  <c:v>0.6319084468063777</c:v>
                </c:pt>
                <c:pt idx="17">
                  <c:v>0.93637342572217797</c:v>
                </c:pt>
                <c:pt idx="18">
                  <c:v>1.4189216941925029</c:v>
                </c:pt>
                <c:pt idx="19">
                  <c:v>1.8382791179821898</c:v>
                </c:pt>
                <c:pt idx="20">
                  <c:v>2.3208273864525149</c:v>
                </c:pt>
                <c:pt idx="21">
                  <c:v>3.349114768073802</c:v>
                </c:pt>
                <c:pt idx="22">
                  <c:v>4.0097463260986519</c:v>
                </c:pt>
                <c:pt idx="23">
                  <c:v>4.5497408170059206</c:v>
                </c:pt>
                <c:pt idx="24">
                  <c:v>4.5784639282243917</c:v>
                </c:pt>
                <c:pt idx="25">
                  <c:v>3.4697518351913836</c:v>
                </c:pt>
                <c:pt idx="26">
                  <c:v>2.8320987661413115</c:v>
                </c:pt>
                <c:pt idx="27">
                  <c:v>2.0967871189484355</c:v>
                </c:pt>
                <c:pt idx="28">
                  <c:v>1.1259459597640913</c:v>
                </c:pt>
                <c:pt idx="29">
                  <c:v>0.72956702494918169</c:v>
                </c:pt>
                <c:pt idx="30">
                  <c:v>0.64339769129376645</c:v>
                </c:pt>
                <c:pt idx="31">
                  <c:v>0.68361004699962691</c:v>
                </c:pt>
                <c:pt idx="32">
                  <c:v>0.75829013616765339</c:v>
                </c:pt>
                <c:pt idx="33">
                  <c:v>0.91339493674740058</c:v>
                </c:pt>
                <c:pt idx="34">
                  <c:v>0.87892720328523466</c:v>
                </c:pt>
                <c:pt idx="35">
                  <c:v>0.71233315821809862</c:v>
                </c:pt>
                <c:pt idx="36">
                  <c:v>0.92488418123478922</c:v>
                </c:pt>
                <c:pt idx="37">
                  <c:v>1.085733604058231</c:v>
                </c:pt>
                <c:pt idx="38">
                  <c:v>1.0972228485456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J$2:$J$40</c:f>
              <c:numCache>
                <c:formatCode>General</c:formatCode>
                <c:ptCount val="39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94694855685492</c:v>
                </c:pt>
                <c:pt idx="28">
                  <c:v>12.445289070817962</c:v>
                </c:pt>
                <c:pt idx="29">
                  <c:v>10.804007298777405</c:v>
                </c:pt>
                <c:pt idx="30">
                  <c:v>7.518809273521267</c:v>
                </c:pt>
                <c:pt idx="31">
                  <c:v>7.1868646454681206</c:v>
                </c:pt>
                <c:pt idx="32">
                  <c:v>7.7480091357484397</c:v>
                </c:pt>
                <c:pt idx="33">
                  <c:v>8.4988362706305569</c:v>
                </c:pt>
                <c:pt idx="34">
                  <c:v>8.4224363165548315</c:v>
                </c:pt>
                <c:pt idx="35">
                  <c:v>7.2026715325182709</c:v>
                </c:pt>
                <c:pt idx="36">
                  <c:v>5.6035414592781132</c:v>
                </c:pt>
                <c:pt idx="37">
                  <c:v>4.4022180434667257</c:v>
                </c:pt>
                <c:pt idx="38">
                  <c:v>3.6487564274095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B$2:$B$40</c:f>
              <c:numCache>
                <c:formatCode>General</c:formatCode>
                <c:ptCount val="39"/>
                <c:pt idx="0">
                  <c:v>0.25839607489621463</c:v>
                </c:pt>
                <c:pt idx="1">
                  <c:v>0.14604995537612134</c:v>
                </c:pt>
                <c:pt idx="2">
                  <c:v>6.7407671712056E-2</c:v>
                </c:pt>
                <c:pt idx="3">
                  <c:v>0.10111150756808399</c:v>
                </c:pt>
                <c:pt idx="4">
                  <c:v>0.10111150756808399</c:v>
                </c:pt>
                <c:pt idx="5">
                  <c:v>0.14604995537612134</c:v>
                </c:pt>
                <c:pt idx="6">
                  <c:v>0.20222301513616797</c:v>
                </c:pt>
                <c:pt idx="7">
                  <c:v>0.17975379123214932</c:v>
                </c:pt>
                <c:pt idx="8">
                  <c:v>0.38197680636831727</c:v>
                </c:pt>
                <c:pt idx="9">
                  <c:v>0.73024977688060666</c:v>
                </c:pt>
                <c:pt idx="10">
                  <c:v>0.88753434420873734</c:v>
                </c:pt>
                <c:pt idx="11">
                  <c:v>1.2133380908170079</c:v>
                </c:pt>
                <c:pt idx="12">
                  <c:v>1.5054380015692506</c:v>
                </c:pt>
                <c:pt idx="13">
                  <c:v>1.4492649418092038</c:v>
                </c:pt>
                <c:pt idx="14">
                  <c:v>1.3706226581451386</c:v>
                </c:pt>
                <c:pt idx="15">
                  <c:v>1.5728456732813065</c:v>
                </c:pt>
                <c:pt idx="16">
                  <c:v>1.7750686884174747</c:v>
                </c:pt>
                <c:pt idx="17">
                  <c:v>2.0109955394096706</c:v>
                </c:pt>
                <c:pt idx="18">
                  <c:v>2.9209991075224266</c:v>
                </c:pt>
                <c:pt idx="19">
                  <c:v>4.9881677066921437</c:v>
                </c:pt>
                <c:pt idx="20">
                  <c:v>6.8755825146297118</c:v>
                </c:pt>
                <c:pt idx="21">
                  <c:v>8.1450936652067654</c:v>
                </c:pt>
                <c:pt idx="22">
                  <c:v>8.9876895616074659</c:v>
                </c:pt>
                <c:pt idx="23">
                  <c:v>8.2012667249668123</c:v>
                </c:pt>
                <c:pt idx="24">
                  <c:v>6.2352096333651792</c:v>
                </c:pt>
                <c:pt idx="25">
                  <c:v>3.9882872429633132</c:v>
                </c:pt>
                <c:pt idx="26">
                  <c:v>2.6288991967701838</c:v>
                </c:pt>
                <c:pt idx="27">
                  <c:v>2.1345762708817735</c:v>
                </c:pt>
                <c:pt idx="28">
                  <c:v>1.718895628657428</c:v>
                </c:pt>
                <c:pt idx="29">
                  <c:v>1.651487956945372</c:v>
                </c:pt>
                <c:pt idx="30">
                  <c:v>2.0222301513616801</c:v>
                </c:pt>
                <c:pt idx="31">
                  <c:v>2.6401338087221933</c:v>
                </c:pt>
                <c:pt idx="32">
                  <c:v>3.4265566453628469</c:v>
                </c:pt>
                <c:pt idx="33">
                  <c:v>4.0444603027233601</c:v>
                </c:pt>
                <c:pt idx="34">
                  <c:v>4.460140944947705</c:v>
                </c:pt>
                <c:pt idx="35">
                  <c:v>4.7859446915559758</c:v>
                </c:pt>
                <c:pt idx="36">
                  <c:v>4.5387832286117709</c:v>
                </c:pt>
                <c:pt idx="37">
                  <c:v>4.6061909003238268</c:v>
                </c:pt>
                <c:pt idx="38">
                  <c:v>4.8196485274120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L$2:$L$40</c:f>
              <c:numCache>
                <c:formatCode>General</c:formatCode>
                <c:ptCount val="39"/>
                <c:pt idx="0">
                  <c:v>0.31147665033612915</c:v>
                </c:pt>
                <c:pt idx="1">
                  <c:v>0.21986587082550288</c:v>
                </c:pt>
                <c:pt idx="2">
                  <c:v>0.25651018262975339</c:v>
                </c:pt>
                <c:pt idx="3">
                  <c:v>0.23818802672762815</c:v>
                </c:pt>
                <c:pt idx="4">
                  <c:v>0.23818802672762815</c:v>
                </c:pt>
                <c:pt idx="5">
                  <c:v>0.1282550913148767</c:v>
                </c:pt>
                <c:pt idx="6">
                  <c:v>7.3288623608500969E-2</c:v>
                </c:pt>
                <c:pt idx="7">
                  <c:v>0.10993293541275144</c:v>
                </c:pt>
                <c:pt idx="8">
                  <c:v>7.3288623608500969E-2</c:v>
                </c:pt>
                <c:pt idx="9">
                  <c:v>7.3288623608500969E-2</c:v>
                </c:pt>
                <c:pt idx="10">
                  <c:v>0.21986587082550288</c:v>
                </c:pt>
                <c:pt idx="11">
                  <c:v>0.40308742984675533</c:v>
                </c:pt>
                <c:pt idx="12">
                  <c:v>0.65959761247650872</c:v>
                </c:pt>
                <c:pt idx="13">
                  <c:v>1.8871820579188998</c:v>
                </c:pt>
                <c:pt idx="14">
                  <c:v>2.5467796703954084</c:v>
                </c:pt>
                <c:pt idx="15">
                  <c:v>3.2613437505782934</c:v>
                </c:pt>
                <c:pt idx="16">
                  <c:v>3.3346323741867936</c:v>
                </c:pt>
                <c:pt idx="17">
                  <c:v>3.4995317773059207</c:v>
                </c:pt>
                <c:pt idx="18">
                  <c:v>6.4493988775480853</c:v>
                </c:pt>
                <c:pt idx="19">
                  <c:v>10.132152213875258</c:v>
                </c:pt>
                <c:pt idx="20">
                  <c:v>11.909401336381407</c:v>
                </c:pt>
                <c:pt idx="21">
                  <c:v>13.613361835279056</c:v>
                </c:pt>
                <c:pt idx="22">
                  <c:v>17.974034939984861</c:v>
                </c:pt>
                <c:pt idx="23">
                  <c:v>19.677995438882508</c:v>
                </c:pt>
                <c:pt idx="24">
                  <c:v>21.400278093682282</c:v>
                </c:pt>
                <c:pt idx="25">
                  <c:v>18.871820579188999</c:v>
                </c:pt>
                <c:pt idx="26">
                  <c:v>12.312488766228164</c:v>
                </c:pt>
                <c:pt idx="27">
                  <c:v>9.9672528107561327</c:v>
                </c:pt>
                <c:pt idx="28">
                  <c:v>11.213159412100648</c:v>
                </c:pt>
                <c:pt idx="29">
                  <c:v>12.568998948857915</c:v>
                </c:pt>
                <c:pt idx="30">
                  <c:v>8.7579905212158664</c:v>
                </c:pt>
                <c:pt idx="31">
                  <c:v>5.4600024588333218</c:v>
                </c:pt>
                <c:pt idx="32">
                  <c:v>5.0385928730844416</c:v>
                </c:pt>
                <c:pt idx="33">
                  <c:v>5.1118814966929422</c:v>
                </c:pt>
                <c:pt idx="34">
                  <c:v>6.9624192428075924</c:v>
                </c:pt>
                <c:pt idx="35">
                  <c:v>8.2816144677606101</c:v>
                </c:pt>
                <c:pt idx="36">
                  <c:v>8.5198024944882373</c:v>
                </c:pt>
                <c:pt idx="37">
                  <c:v>7.860204882011729</c:v>
                </c:pt>
                <c:pt idx="38">
                  <c:v>6.2661773185268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0</c:f>
              <c:numCache>
                <c:formatCode>General</c:formatCode>
                <c:ptCount val="39"/>
                <c:pt idx="0">
                  <c:v>0.43099246536436803</c:v>
                </c:pt>
                <c:pt idx="1">
                  <c:v>0.37394934494849574</c:v>
                </c:pt>
                <c:pt idx="2">
                  <c:v>0.54296599803256163</c:v>
                </c:pt>
                <c:pt idx="3">
                  <c:v>1.1577640736258512</c:v>
                </c:pt>
                <c:pt idx="4">
                  <c:v>1.9774948410835707</c:v>
                </c:pt>
                <c:pt idx="5">
                  <c:v>2.6387724962749783</c:v>
                </c:pt>
                <c:pt idx="6">
                  <c:v>3.1458224555271759</c:v>
                </c:pt>
                <c:pt idx="7">
                  <c:v>3.185963910634642</c:v>
                </c:pt>
                <c:pt idx="8">
                  <c:v>2.8415924799758576</c:v>
                </c:pt>
                <c:pt idx="9">
                  <c:v>2.478206675845116</c:v>
                </c:pt>
                <c:pt idx="10">
                  <c:v>2.023974420681689</c:v>
                </c:pt>
                <c:pt idx="11">
                  <c:v>1.6288979940976849</c:v>
                </c:pt>
                <c:pt idx="12">
                  <c:v>1.2401596920043334</c:v>
                </c:pt>
                <c:pt idx="13">
                  <c:v>0.87254847154649007</c:v>
                </c:pt>
                <c:pt idx="14">
                  <c:v>0.67817932049981444</c:v>
                </c:pt>
                <c:pt idx="15">
                  <c:v>0.55986766334096827</c:v>
                </c:pt>
                <c:pt idx="16">
                  <c:v>0.50493725108864684</c:v>
                </c:pt>
                <c:pt idx="17">
                  <c:v>0.45423225516342708</c:v>
                </c:pt>
                <c:pt idx="18">
                  <c:v>0.41197809189241058</c:v>
                </c:pt>
                <c:pt idx="19">
                  <c:v>0.53662787354190922</c:v>
                </c:pt>
                <c:pt idx="20">
                  <c:v>0.64648869804655207</c:v>
                </c:pt>
                <c:pt idx="21">
                  <c:v>0.69930640213532258</c:v>
                </c:pt>
                <c:pt idx="22">
                  <c:v>0.96339492257917547</c:v>
                </c:pt>
                <c:pt idx="23">
                  <c:v>1.2781884389482483</c:v>
                </c:pt>
                <c:pt idx="24">
                  <c:v>1.6901665308406588</c:v>
                </c:pt>
                <c:pt idx="25">
                  <c:v>2.1549623268218401</c:v>
                </c:pt>
                <c:pt idx="26">
                  <c:v>2.6155327064759195</c:v>
                </c:pt>
                <c:pt idx="27">
                  <c:v>3.344417022900954</c:v>
                </c:pt>
                <c:pt idx="28">
                  <c:v>4.5317590108165167</c:v>
                </c:pt>
                <c:pt idx="29">
                  <c:v>5.7212137068956306</c:v>
                </c:pt>
                <c:pt idx="30">
                  <c:v>6.5198173927178411</c:v>
                </c:pt>
                <c:pt idx="31">
                  <c:v>6.7965821621429994</c:v>
                </c:pt>
                <c:pt idx="32">
                  <c:v>6.1500934640964466</c:v>
                </c:pt>
                <c:pt idx="33">
                  <c:v>4.6479579598118113</c:v>
                </c:pt>
                <c:pt idx="34">
                  <c:v>3.1458224555271759</c:v>
                </c:pt>
                <c:pt idx="35">
                  <c:v>2.3472187697049649</c:v>
                </c:pt>
                <c:pt idx="36">
                  <c:v>1.9246771369948004</c:v>
                </c:pt>
                <c:pt idx="37">
                  <c:v>1.4746702981584749</c:v>
                </c:pt>
                <c:pt idx="38">
                  <c:v>0.94226784094366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402A-4B81-99E3-A430AA945502}"/>
              </c:ext>
            </c:extLst>
          </c:dPt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H$2:$H$40</c:f>
              <c:numCache>
                <c:formatCode>General</c:formatCode>
                <c:ptCount val="39"/>
                <c:pt idx="0">
                  <c:v>0.42609548009228287</c:v>
                </c:pt>
                <c:pt idx="1">
                  <c:v>0.62591956730797416</c:v>
                </c:pt>
                <c:pt idx="2">
                  <c:v>0.90067768722954977</c:v>
                </c:pt>
                <c:pt idx="3">
                  <c:v>1.257716313651704</c:v>
                </c:pt>
                <c:pt idx="4">
                  <c:v>1.6279785929043082</c:v>
                </c:pt>
                <c:pt idx="5">
                  <c:v>1.7837238373518325</c:v>
                </c:pt>
                <c:pt idx="6">
                  <c:v>1.8410263329504497</c:v>
                </c:pt>
                <c:pt idx="7">
                  <c:v>2.0467275992018967</c:v>
                </c:pt>
                <c:pt idx="8">
                  <c:v>2.3141392453287777</c:v>
                </c:pt>
                <c:pt idx="9">
                  <c:v>2.5536342910358192</c:v>
                </c:pt>
                <c:pt idx="10">
                  <c:v>2.8460239480646621</c:v>
                </c:pt>
                <c:pt idx="11">
                  <c:v>2.9591596445029578</c:v>
                </c:pt>
                <c:pt idx="12">
                  <c:v>2.7637434415640829</c:v>
                </c:pt>
                <c:pt idx="13">
                  <c:v>2.4860467321246298</c:v>
                </c:pt>
                <c:pt idx="14">
                  <c:v>2.3200164243645336</c:v>
                </c:pt>
                <c:pt idx="15">
                  <c:v>2.4860467321246298</c:v>
                </c:pt>
                <c:pt idx="16">
                  <c:v>2.8342695899931507</c:v>
                </c:pt>
                <c:pt idx="17">
                  <c:v>3.2295098801477167</c:v>
                </c:pt>
                <c:pt idx="18">
                  <c:v>3.4190489040508356</c:v>
                </c:pt>
                <c:pt idx="19">
                  <c:v>3.1633916159954656</c:v>
                </c:pt>
                <c:pt idx="20">
                  <c:v>2.8680633694487456</c:v>
                </c:pt>
                <c:pt idx="21">
                  <c:v>2.671177871750932</c:v>
                </c:pt>
                <c:pt idx="22">
                  <c:v>2.5080861535087133</c:v>
                </c:pt>
                <c:pt idx="23">
                  <c:v>2.4243363522491954</c:v>
                </c:pt>
                <c:pt idx="24">
                  <c:v>2.3479330247843726</c:v>
                </c:pt>
                <c:pt idx="25">
                  <c:v>2.3582180880969448</c:v>
                </c:pt>
                <c:pt idx="28">
                  <c:v>5.1807333200185841</c:v>
                </c:pt>
                <c:pt idx="29">
                  <c:v>5.5318947674049834</c:v>
                </c:pt>
                <c:pt idx="30">
                  <c:v>4.4989805518709316</c:v>
                </c:pt>
                <c:pt idx="31">
                  <c:v>3.9494643120277808</c:v>
                </c:pt>
                <c:pt idx="32">
                  <c:v>4.0567228294303206</c:v>
                </c:pt>
                <c:pt idx="33">
                  <c:v>3.3250140394787451</c:v>
                </c:pt>
                <c:pt idx="34">
                  <c:v>2.5800815966967199</c:v>
                </c:pt>
                <c:pt idx="35">
                  <c:v>2.3009155924983276</c:v>
                </c:pt>
                <c:pt idx="36">
                  <c:v>2.5242483958570414</c:v>
                </c:pt>
                <c:pt idx="37">
                  <c:v>2.231858738828199</c:v>
                </c:pt>
                <c:pt idx="38">
                  <c:v>2.0202802935409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I$2:$I$40</c:f>
              <c:numCache>
                <c:formatCode>General</c:formatCode>
                <c:ptCount val="39"/>
                <c:pt idx="0">
                  <c:v>0.1735743471000934</c:v>
                </c:pt>
                <c:pt idx="1">
                  <c:v>8.6787173550046698E-2</c:v>
                </c:pt>
                <c:pt idx="2">
                  <c:v>6.0751021485032683E-2</c:v>
                </c:pt>
                <c:pt idx="3">
                  <c:v>9.5465890905051351E-2</c:v>
                </c:pt>
                <c:pt idx="4">
                  <c:v>0.18225306445509803</c:v>
                </c:pt>
                <c:pt idx="5">
                  <c:v>0.19961049916510737</c:v>
                </c:pt>
                <c:pt idx="6">
                  <c:v>0.1909317818101027</c:v>
                </c:pt>
                <c:pt idx="7">
                  <c:v>0.35582741155519143</c:v>
                </c:pt>
                <c:pt idx="8">
                  <c:v>0.2777189553601494</c:v>
                </c:pt>
                <c:pt idx="9">
                  <c:v>0.34714869420018679</c:v>
                </c:pt>
                <c:pt idx="10">
                  <c:v>0.41657843304022413</c:v>
                </c:pt>
                <c:pt idx="11">
                  <c:v>0.3384699768451821</c:v>
                </c:pt>
                <c:pt idx="12">
                  <c:v>0.46865073717025213</c:v>
                </c:pt>
                <c:pt idx="13">
                  <c:v>0.48600817188026146</c:v>
                </c:pt>
                <c:pt idx="14">
                  <c:v>0.53808047601028952</c:v>
                </c:pt>
                <c:pt idx="15">
                  <c:v>0.78976327930542489</c:v>
                </c:pt>
                <c:pt idx="16">
                  <c:v>0.93730147434050426</c:v>
                </c:pt>
                <c:pt idx="17">
                  <c:v>1.2931288858956957</c:v>
                </c:pt>
                <c:pt idx="18">
                  <c:v>1.3278437553157143</c:v>
                </c:pt>
                <c:pt idx="19">
                  <c:v>1.7010286015809153</c:v>
                </c:pt>
                <c:pt idx="20">
                  <c:v>2.256466512301214</c:v>
                </c:pt>
                <c:pt idx="21">
                  <c:v>2.5775790544363866</c:v>
                </c:pt>
                <c:pt idx="22">
                  <c:v>3.0375510742516338</c:v>
                </c:pt>
                <c:pt idx="23">
                  <c:v>2.6904023800514474</c:v>
                </c:pt>
                <c:pt idx="24">
                  <c:v>2.1696793387511675</c:v>
                </c:pt>
                <c:pt idx="25">
                  <c:v>1.8919603833910179</c:v>
                </c:pt>
                <c:pt idx="26">
                  <c:v>1.3452011900257237</c:v>
                </c:pt>
                <c:pt idx="27">
                  <c:v>1.128233256150607</c:v>
                </c:pt>
                <c:pt idx="28">
                  <c:v>1.206341712345649</c:v>
                </c:pt>
                <c:pt idx="29">
                  <c:v>1.5274542544808216</c:v>
                </c:pt>
                <c:pt idx="30">
                  <c:v>2.0047837090060785</c:v>
                </c:pt>
                <c:pt idx="31">
                  <c:v>2.6122939238564054</c:v>
                </c:pt>
                <c:pt idx="32">
                  <c:v>2.7858682709564988</c:v>
                </c:pt>
                <c:pt idx="33">
                  <c:v>2.334574968496256</c:v>
                </c:pt>
                <c:pt idx="34">
                  <c:v>1.3972734941557516</c:v>
                </c:pt>
                <c:pt idx="35">
                  <c:v>1.0154099305355462</c:v>
                </c:pt>
                <c:pt idx="36">
                  <c:v>1.1976629949906443</c:v>
                </c:pt>
                <c:pt idx="37">
                  <c:v>1.1369119735056117</c:v>
                </c:pt>
                <c:pt idx="38">
                  <c:v>1.258414016475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C$2:$C$40</c:f>
              <c:numCache>
                <c:formatCode>General</c:formatCode>
                <c:ptCount val="39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7047324657453169</c:v>
                </c:pt>
                <c:pt idx="25">
                  <c:v>5.0402382134403423</c:v>
                </c:pt>
                <c:pt idx="26">
                  <c:v>3.8339474350844904</c:v>
                </c:pt>
                <c:pt idx="27">
                  <c:v>3.0858601306777604</c:v>
                </c:pt>
                <c:pt idx="28">
                  <c:v>2.2723151871354421</c:v>
                </c:pt>
                <c:pt idx="29">
                  <c:v>1.4961746088134598</c:v>
                </c:pt>
                <c:pt idx="30">
                  <c:v>1.5335789740337964</c:v>
                </c:pt>
                <c:pt idx="31">
                  <c:v>2.8614339393557415</c:v>
                </c:pt>
                <c:pt idx="32">
                  <c:v>3.6749788828980599</c:v>
                </c:pt>
                <c:pt idx="33">
                  <c:v>3.4318505089658728</c:v>
                </c:pt>
                <c:pt idx="34">
                  <c:v>3.2448286828641906</c:v>
                </c:pt>
                <c:pt idx="35">
                  <c:v>2.6276566567286386</c:v>
                </c:pt>
                <c:pt idx="36">
                  <c:v>1.9076226262371609</c:v>
                </c:pt>
                <c:pt idx="37">
                  <c:v>1.7112497088303944</c:v>
                </c:pt>
                <c:pt idx="38">
                  <c:v>1.673845343610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D$2:$D$40</c:f>
              <c:numCache>
                <c:formatCode>General</c:formatCode>
                <c:ptCount val="39"/>
                <c:pt idx="0">
                  <c:v>0.3104565202226921</c:v>
                </c:pt>
                <c:pt idx="1">
                  <c:v>0.24509725280738848</c:v>
                </c:pt>
                <c:pt idx="2">
                  <c:v>0.18419429907949197</c:v>
                </c:pt>
                <c:pt idx="3">
                  <c:v>0.21835937068294611</c:v>
                </c:pt>
                <c:pt idx="4">
                  <c:v>0.44266049294910165</c:v>
                </c:pt>
                <c:pt idx="5">
                  <c:v>0.53772851828045243</c:v>
                </c:pt>
                <c:pt idx="6">
                  <c:v>0.71895194156833953</c:v>
                </c:pt>
                <c:pt idx="7">
                  <c:v>1.2626222114320014</c:v>
                </c:pt>
                <c:pt idx="8">
                  <c:v>1.1348745523929988</c:v>
                </c:pt>
                <c:pt idx="9">
                  <c:v>1.0442628407490551</c:v>
                </c:pt>
                <c:pt idx="10">
                  <c:v>0.94028218804289032</c:v>
                </c:pt>
                <c:pt idx="11">
                  <c:v>0.7531170131717938</c:v>
                </c:pt>
                <c:pt idx="12">
                  <c:v>0.62536935413279127</c:v>
                </c:pt>
                <c:pt idx="13">
                  <c:v>0.51247607405181228</c:v>
                </c:pt>
                <c:pt idx="14">
                  <c:v>0.37581578763799567</c:v>
                </c:pt>
                <c:pt idx="15">
                  <c:v>0.3104565202226921</c:v>
                </c:pt>
                <c:pt idx="16">
                  <c:v>0.30302933074368033</c:v>
                </c:pt>
                <c:pt idx="17">
                  <c:v>0.31342739601429681</c:v>
                </c:pt>
                <c:pt idx="18">
                  <c:v>0.35947597078416976</c:v>
                </c:pt>
                <c:pt idx="19">
                  <c:v>0.38027210132540279</c:v>
                </c:pt>
                <c:pt idx="20">
                  <c:v>0.49613625719798643</c:v>
                </c:pt>
                <c:pt idx="21">
                  <c:v>0.70855387629772315</c:v>
                </c:pt>
                <c:pt idx="22">
                  <c:v>0.97741813543794931</c:v>
                </c:pt>
                <c:pt idx="23">
                  <c:v>1.4007679357416203</c:v>
                </c:pt>
                <c:pt idx="24">
                  <c:v>1.6102146790497522</c:v>
                </c:pt>
                <c:pt idx="25">
                  <c:v>1.7795545991712207</c:v>
                </c:pt>
                <c:pt idx="26">
                  <c:v>2.0424771067282372</c:v>
                </c:pt>
                <c:pt idx="27">
                  <c:v>2.3039141763894517</c:v>
                </c:pt>
                <c:pt idx="28">
                  <c:v>2.360360816429941</c:v>
                </c:pt>
                <c:pt idx="29">
                  <c:v>2.6411085787365862</c:v>
                </c:pt>
                <c:pt idx="30">
                  <c:v>3.0971380127479096</c:v>
                </c:pt>
                <c:pt idx="31">
                  <c:v>3.1639827180590152</c:v>
                </c:pt>
                <c:pt idx="32">
                  <c:v>3.1907206001834574</c:v>
                </c:pt>
                <c:pt idx="33">
                  <c:v>2.7569727346091701</c:v>
                </c:pt>
                <c:pt idx="34">
                  <c:v>2.1791373931420543</c:v>
                </c:pt>
                <c:pt idx="35">
                  <c:v>1.7290497107139406</c:v>
                </c:pt>
                <c:pt idx="36">
                  <c:v>1.2982727209312579</c:v>
                </c:pt>
                <c:pt idx="37">
                  <c:v>1.2329134535159543</c:v>
                </c:pt>
                <c:pt idx="38">
                  <c:v>1.1348745523929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F$2:$F$40</c:f>
              <c:numCache>
                <c:formatCode>General</c:formatCode>
                <c:ptCount val="39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449548274181222</c:v>
                </c:pt>
                <c:pt idx="5">
                  <c:v>0.2598862053877663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7785528087427998</c:v>
                </c:pt>
                <c:pt idx="19">
                  <c:v>0.65390722645954102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26384640168602</c:v>
                </c:pt>
                <c:pt idx="26">
                  <c:v>1.735369177911859</c:v>
                </c:pt>
                <c:pt idx="27">
                  <c:v>2.3339457929017464</c:v>
                </c:pt>
                <c:pt idx="28">
                  <c:v>3.4640316150395178</c:v>
                </c:pt>
                <c:pt idx="29">
                  <c:v>4.0559014892452048</c:v>
                </c:pt>
                <c:pt idx="30">
                  <c:v>4.4029753248275769</c:v>
                </c:pt>
                <c:pt idx="31">
                  <c:v>4.3962685840433755</c:v>
                </c:pt>
                <c:pt idx="32">
                  <c:v>3.7624815799364359</c:v>
                </c:pt>
                <c:pt idx="33">
                  <c:v>3.3097765770029079</c:v>
                </c:pt>
                <c:pt idx="34">
                  <c:v>2.6340724429947153</c:v>
                </c:pt>
                <c:pt idx="35">
                  <c:v>2.2249612551584899</c:v>
                </c:pt>
                <c:pt idx="36">
                  <c:v>1.6448281773251534</c:v>
                </c:pt>
                <c:pt idx="37">
                  <c:v>1.5375203247779465</c:v>
                </c:pt>
                <c:pt idx="38">
                  <c:v>1.6716551404619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K$2:$K$40</c:f>
              <c:numCache>
                <c:formatCode>General</c:formatCode>
                <c:ptCount val="39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5509831285571074</c:v>
                </c:pt>
                <c:pt idx="15">
                  <c:v>1.218073425466087</c:v>
                </c:pt>
                <c:pt idx="16">
                  <c:v>2.12906951678106</c:v>
                </c:pt>
                <c:pt idx="17">
                  <c:v>4.0124771662412284</c:v>
                </c:pt>
                <c:pt idx="18">
                  <c:v>6.6840499733559238</c:v>
                </c:pt>
                <c:pt idx="19">
                  <c:v>8.9564222460741689</c:v>
                </c:pt>
                <c:pt idx="20">
                  <c:v>10.225675227232109</c:v>
                </c:pt>
                <c:pt idx="21">
                  <c:v>12.713001633856134</c:v>
                </c:pt>
                <c:pt idx="22">
                  <c:v>13.644469547447848</c:v>
                </c:pt>
                <c:pt idx="23">
                  <c:v>12.569698877918951</c:v>
                </c:pt>
                <c:pt idx="24">
                  <c:v>10.297326605200702</c:v>
                </c:pt>
                <c:pt idx="25">
                  <c:v>8.6493449119230554</c:v>
                </c:pt>
                <c:pt idx="26">
                  <c:v>6.4076803726199199</c:v>
                </c:pt>
                <c:pt idx="27">
                  <c:v>5.1588992137387217</c:v>
                </c:pt>
                <c:pt idx="28">
                  <c:v>4.3400263226690834</c:v>
                </c:pt>
                <c:pt idx="29">
                  <c:v>3.8794103214424118</c:v>
                </c:pt>
                <c:pt idx="30">
                  <c:v>4.7596986793422724</c:v>
                </c:pt>
                <c:pt idx="31">
                  <c:v>6.1824903275757697</c:v>
                </c:pt>
                <c:pt idx="32">
                  <c:v>6.9194759295384447</c:v>
                </c:pt>
                <c:pt idx="33">
                  <c:v>6.6328704176640709</c:v>
                </c:pt>
                <c:pt idx="34">
                  <c:v>6.1210748607455461</c:v>
                </c:pt>
                <c:pt idx="35">
                  <c:v>4.5754522788516043</c:v>
                </c:pt>
                <c:pt idx="36">
                  <c:v>3.1117169860646259</c:v>
                </c:pt>
                <c:pt idx="37">
                  <c:v>2.692044629391436</c:v>
                </c:pt>
                <c:pt idx="38">
                  <c:v>2.1393054279194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E$2:$E$40</c:f>
              <c:numCache>
                <c:formatCode>General</c:formatCode>
                <c:ptCount val="39"/>
                <c:pt idx="0">
                  <c:v>0.1178356085285133</c:v>
                </c:pt>
                <c:pt idx="1">
                  <c:v>7.3346654288156232E-2</c:v>
                </c:pt>
                <c:pt idx="2">
                  <c:v>6.8537037613523033E-2</c:v>
                </c:pt>
                <c:pt idx="3">
                  <c:v>8.2965887637422617E-2</c:v>
                </c:pt>
                <c:pt idx="4">
                  <c:v>5.7715400095598349E-2</c:v>
                </c:pt>
                <c:pt idx="5">
                  <c:v>7.0941845950839633E-2</c:v>
                </c:pt>
                <c:pt idx="6">
                  <c:v>9.2585120986689015E-2</c:v>
                </c:pt>
                <c:pt idx="7">
                  <c:v>0.15511013775692056</c:v>
                </c:pt>
                <c:pt idx="8">
                  <c:v>0.1947894753226444</c:v>
                </c:pt>
                <c:pt idx="9">
                  <c:v>0.32585152970639902</c:v>
                </c:pt>
                <c:pt idx="10">
                  <c:v>0.394388567319922</c:v>
                </c:pt>
                <c:pt idx="11">
                  <c:v>0.52424821753501838</c:v>
                </c:pt>
                <c:pt idx="12">
                  <c:v>0.49899772999319397</c:v>
                </c:pt>
                <c:pt idx="13">
                  <c:v>0.46893762577673653</c:v>
                </c:pt>
                <c:pt idx="14">
                  <c:v>0.48216407163197783</c:v>
                </c:pt>
                <c:pt idx="15">
                  <c:v>0.54709389673952591</c:v>
                </c:pt>
                <c:pt idx="16">
                  <c:v>0.72144250119497932</c:v>
                </c:pt>
                <c:pt idx="17">
                  <c:v>1.0244483516968705</c:v>
                </c:pt>
                <c:pt idx="18">
                  <c:v>1.4392777898839837</c:v>
                </c:pt>
                <c:pt idx="19">
                  <c:v>1.8961913739741372</c:v>
                </c:pt>
                <c:pt idx="20">
                  <c:v>2.3795578497747734</c:v>
                </c:pt>
                <c:pt idx="21">
                  <c:v>2.9771527215979483</c:v>
                </c:pt>
                <c:pt idx="22">
                  <c:v>3.3835653306044526</c:v>
                </c:pt>
                <c:pt idx="23">
                  <c:v>3.1635253677399846</c:v>
                </c:pt>
                <c:pt idx="24">
                  <c:v>2.9999984008024558</c:v>
                </c:pt>
                <c:pt idx="25">
                  <c:v>2.4324636331957383</c:v>
                </c:pt>
                <c:pt idx="26">
                  <c:v>1.8817625239502376</c:v>
                </c:pt>
                <c:pt idx="27">
                  <c:v>1.460921064919833</c:v>
                </c:pt>
                <c:pt idx="28">
                  <c:v>1.1146286643462431</c:v>
                </c:pt>
                <c:pt idx="29">
                  <c:v>1.0172339266849209</c:v>
                </c:pt>
                <c:pt idx="30">
                  <c:v>1.0328651808774787</c:v>
                </c:pt>
                <c:pt idx="31">
                  <c:v>1.239678697886706</c:v>
                </c:pt>
                <c:pt idx="32">
                  <c:v>1.4861715524616574</c:v>
                </c:pt>
                <c:pt idx="33">
                  <c:v>1.7290571945306337</c:v>
                </c:pt>
                <c:pt idx="34">
                  <c:v>1.6112215860021204</c:v>
                </c:pt>
                <c:pt idx="35">
                  <c:v>1.5547085900751805</c:v>
                </c:pt>
                <c:pt idx="36">
                  <c:v>1.3478950730659529</c:v>
                </c:pt>
                <c:pt idx="37">
                  <c:v>1.1434863643940421</c:v>
                </c:pt>
                <c:pt idx="38">
                  <c:v>0.68176316362925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G$2:$G$40</c:f>
              <c:numCache>
                <c:formatCode>General</c:formatCode>
                <c:ptCount val="39"/>
                <c:pt idx="0">
                  <c:v>8.6169333655415153E-2</c:v>
                </c:pt>
                <c:pt idx="1">
                  <c:v>5.7446222436943431E-2</c:v>
                </c:pt>
                <c:pt idx="2">
                  <c:v>5.7446222436943431E-2</c:v>
                </c:pt>
                <c:pt idx="3">
                  <c:v>0.13787093384866425</c:v>
                </c:pt>
                <c:pt idx="4">
                  <c:v>0.16659404506713596</c:v>
                </c:pt>
                <c:pt idx="5">
                  <c:v>0.22978488974777372</c:v>
                </c:pt>
                <c:pt idx="6">
                  <c:v>0.22978488974777372</c:v>
                </c:pt>
                <c:pt idx="7">
                  <c:v>0.25276337872255111</c:v>
                </c:pt>
                <c:pt idx="8">
                  <c:v>0.25276337872255111</c:v>
                </c:pt>
                <c:pt idx="9">
                  <c:v>0.23552951199146807</c:v>
                </c:pt>
                <c:pt idx="10">
                  <c:v>0.183827911798219</c:v>
                </c:pt>
                <c:pt idx="11">
                  <c:v>0.25850800096624543</c:v>
                </c:pt>
                <c:pt idx="12">
                  <c:v>0.20680640077299639</c:v>
                </c:pt>
                <c:pt idx="13">
                  <c:v>0.183827911798219</c:v>
                </c:pt>
                <c:pt idx="14">
                  <c:v>0.12638168936127556</c:v>
                </c:pt>
                <c:pt idx="15">
                  <c:v>0.25276337872255111</c:v>
                </c:pt>
                <c:pt idx="16">
                  <c:v>0.3791450680838267</c:v>
                </c:pt>
                <c:pt idx="17">
                  <c:v>0.55722835763835132</c:v>
                </c:pt>
                <c:pt idx="18">
                  <c:v>0.86169333655415159</c:v>
                </c:pt>
                <c:pt idx="19">
                  <c:v>0.97658578142803831</c:v>
                </c:pt>
                <c:pt idx="20">
                  <c:v>1.3442416050244763</c:v>
                </c:pt>
                <c:pt idx="21">
                  <c:v>2.0048731630493259</c:v>
                </c:pt>
                <c:pt idx="22">
                  <c:v>2.0048731630493259</c:v>
                </c:pt>
                <c:pt idx="23">
                  <c:v>2.5448676539565942</c:v>
                </c:pt>
                <c:pt idx="24">
                  <c:v>2.0335962742677975</c:v>
                </c:pt>
                <c:pt idx="25">
                  <c:v>1.4361555609235859</c:v>
                </c:pt>
                <c:pt idx="26">
                  <c:v>1.3959432052177254</c:v>
                </c:pt>
                <c:pt idx="27">
                  <c:v>0.70084391373070987</c:v>
                </c:pt>
                <c:pt idx="28">
                  <c:v>0.42510204603338148</c:v>
                </c:pt>
                <c:pt idx="29">
                  <c:v>0.30446497891580021</c:v>
                </c:pt>
                <c:pt idx="30">
                  <c:v>0.33893271237796624</c:v>
                </c:pt>
                <c:pt idx="31">
                  <c:v>0.34467733462166061</c:v>
                </c:pt>
                <c:pt idx="32">
                  <c:v>0.41361280154599278</c:v>
                </c:pt>
                <c:pt idx="33">
                  <c:v>0.49978213520140785</c:v>
                </c:pt>
                <c:pt idx="34">
                  <c:v>0.3791450680838267</c:v>
                </c:pt>
                <c:pt idx="35">
                  <c:v>0.33318809013427192</c:v>
                </c:pt>
                <c:pt idx="36">
                  <c:v>0.59169609110051746</c:v>
                </c:pt>
                <c:pt idx="37">
                  <c:v>0.49403751295771353</c:v>
                </c:pt>
                <c:pt idx="38">
                  <c:v>0.6031853355879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J$2:$J$40</c:f>
              <c:numCache>
                <c:formatCode>General</c:formatCode>
                <c:ptCount val="39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904793380539367</c:v>
                </c:pt>
                <c:pt idx="28">
                  <c:v>6.7548097327640244</c:v>
                </c:pt>
                <c:pt idx="29">
                  <c:v>4.0491975660133805</c:v>
                </c:pt>
                <c:pt idx="30">
                  <c:v>3.4696117075078865</c:v>
                </c:pt>
                <c:pt idx="31">
                  <c:v>3.7172529379602337</c:v>
                </c:pt>
                <c:pt idx="32">
                  <c:v>4.0307561977882056</c:v>
                </c:pt>
                <c:pt idx="33">
                  <c:v>4.4680800728423504</c:v>
                </c:pt>
                <c:pt idx="34">
                  <c:v>3.9543562437124811</c:v>
                </c:pt>
                <c:pt idx="35">
                  <c:v>3.2483152888057893</c:v>
                </c:pt>
                <c:pt idx="36">
                  <c:v>2.3552261704723243</c:v>
                </c:pt>
                <c:pt idx="37">
                  <c:v>2.0469918729944023</c:v>
                </c:pt>
                <c:pt idx="38">
                  <c:v>1.6017645544151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B$2:$B$40</c:f>
              <c:numCache>
                <c:formatCode>General</c:formatCode>
                <c:ptCount val="39"/>
                <c:pt idx="0">
                  <c:v>0.12358073147210266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0.10111150756808399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2691525417635462</c:v>
                </c:pt>
                <c:pt idx="10">
                  <c:v>0.46061909003238261</c:v>
                </c:pt>
                <c:pt idx="11">
                  <c:v>0.75271900078462528</c:v>
                </c:pt>
                <c:pt idx="12">
                  <c:v>0.75271900078462528</c:v>
                </c:pt>
                <c:pt idx="13">
                  <c:v>0.69654594102457867</c:v>
                </c:pt>
                <c:pt idx="14">
                  <c:v>0.67407671712055994</c:v>
                </c:pt>
                <c:pt idx="15">
                  <c:v>0.89876895616074659</c:v>
                </c:pt>
                <c:pt idx="16">
                  <c:v>0.87629973225672797</c:v>
                </c:pt>
                <c:pt idx="17">
                  <c:v>1.1346958071529427</c:v>
                </c:pt>
                <c:pt idx="18">
                  <c:v>1.7863033003694837</c:v>
                </c:pt>
                <c:pt idx="19">
                  <c:v>3.2018644063226596</c:v>
                </c:pt>
                <c:pt idx="20">
                  <c:v>3.6737181083070518</c:v>
                </c:pt>
                <c:pt idx="21">
                  <c:v>4.471375556899714</c:v>
                </c:pt>
                <c:pt idx="22">
                  <c:v>4.5163140047077519</c:v>
                </c:pt>
                <c:pt idx="23">
                  <c:v>3.6849527202590608</c:v>
                </c:pt>
                <c:pt idx="24">
                  <c:v>2.5502569131061184</c:v>
                </c:pt>
                <c:pt idx="25">
                  <c:v>1.4380303298571946</c:v>
                </c:pt>
                <c:pt idx="26">
                  <c:v>1.1908688669129892</c:v>
                </c:pt>
                <c:pt idx="27">
                  <c:v>0.94370740396878394</c:v>
                </c:pt>
                <c:pt idx="28">
                  <c:v>0.77518822468864401</c:v>
                </c:pt>
                <c:pt idx="29">
                  <c:v>0.87629973225672797</c:v>
                </c:pt>
                <c:pt idx="30">
                  <c:v>1.145930419104952</c:v>
                </c:pt>
                <c:pt idx="31">
                  <c:v>1.4942033896172413</c:v>
                </c:pt>
                <c:pt idx="32">
                  <c:v>1.9323532557456051</c:v>
                </c:pt>
                <c:pt idx="33">
                  <c:v>2.1121070469777545</c:v>
                </c:pt>
                <c:pt idx="34">
                  <c:v>2.3480338979699504</c:v>
                </c:pt>
                <c:pt idx="35">
                  <c:v>2.4379107935860254</c:v>
                </c:pt>
                <c:pt idx="36">
                  <c:v>2.1008724350257451</c:v>
                </c:pt>
                <c:pt idx="37">
                  <c:v>2.5053184652980813</c:v>
                </c:pt>
                <c:pt idx="38">
                  <c:v>2.3143300621139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L$2:$L$40</c:f>
              <c:numCache>
                <c:formatCode>0.00000</c:formatCode>
                <c:ptCount val="39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  <c:pt idx="33" formatCode="General">
                  <c:v>2.6933569176124106</c:v>
                </c:pt>
                <c:pt idx="34" formatCode="General">
                  <c:v>4.2690623251951809</c:v>
                </c:pt>
                <c:pt idx="35" formatCode="General">
                  <c:v>4.0125521425654282</c:v>
                </c:pt>
                <c:pt idx="36" formatCode="General">
                  <c:v>4.5072503519228091</c:v>
                </c:pt>
                <c:pt idx="37" formatCode="General">
                  <c:v>3.352954530088919</c:v>
                </c:pt>
                <c:pt idx="38" formatCode="General">
                  <c:v>2.9132227884379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0</c:f>
              <c:numCache>
                <c:formatCode>General</c:formatCode>
                <c:ptCount val="39"/>
                <c:pt idx="0">
                  <c:v>0.1880310265560233</c:v>
                </c:pt>
                <c:pt idx="1">
                  <c:v>0.18591831839247247</c:v>
                </c:pt>
                <c:pt idx="2">
                  <c:v>0.35704767964008921</c:v>
                </c:pt>
                <c:pt idx="3">
                  <c:v>0.80071639398576211</c:v>
                </c:pt>
                <c:pt idx="4">
                  <c:v>1.1767784470978087</c:v>
                </c:pt>
                <c:pt idx="5">
                  <c:v>1.4619940491771699</c:v>
                </c:pt>
                <c:pt idx="6">
                  <c:v>1.6838284063500064</c:v>
                </c:pt>
                <c:pt idx="7">
                  <c:v>1.5021355042846356</c:v>
                </c:pt>
                <c:pt idx="8">
                  <c:v>1.3394569756912222</c:v>
                </c:pt>
                <c:pt idx="9">
                  <c:v>1.138749700153894</c:v>
                </c:pt>
                <c:pt idx="10">
                  <c:v>0.88522472052779499</c:v>
                </c:pt>
                <c:pt idx="11">
                  <c:v>0.74367327356988988</c:v>
                </c:pt>
                <c:pt idx="12">
                  <c:v>0.49648641843444352</c:v>
                </c:pt>
                <c:pt idx="13">
                  <c:v>0.3760620531120466</c:v>
                </c:pt>
                <c:pt idx="14">
                  <c:v>0.30211726738776779</c:v>
                </c:pt>
                <c:pt idx="15">
                  <c:v>0.25775039595320048</c:v>
                </c:pt>
                <c:pt idx="16">
                  <c:v>0.24718685513544633</c:v>
                </c:pt>
                <c:pt idx="17">
                  <c:v>0.20704540002798072</c:v>
                </c:pt>
                <c:pt idx="18">
                  <c:v>0.20493269186442992</c:v>
                </c:pt>
                <c:pt idx="19">
                  <c:v>0.3316951816774793</c:v>
                </c:pt>
                <c:pt idx="20">
                  <c:v>0.31479351636907271</c:v>
                </c:pt>
                <c:pt idx="21">
                  <c:v>0.38451288576624992</c:v>
                </c:pt>
                <c:pt idx="22">
                  <c:v>0.5788820368129256</c:v>
                </c:pt>
                <c:pt idx="23">
                  <c:v>0.69930640213532258</c:v>
                </c:pt>
                <c:pt idx="24">
                  <c:v>0.99086012870533613</c:v>
                </c:pt>
                <c:pt idx="25">
                  <c:v>1.1641021981165038</c:v>
                </c:pt>
                <c:pt idx="26">
                  <c:v>1.4514305083594157</c:v>
                </c:pt>
                <c:pt idx="27">
                  <c:v>1.8929865145415379</c:v>
                </c:pt>
                <c:pt idx="28">
                  <c:v>2.6387724962749783</c:v>
                </c:pt>
                <c:pt idx="29">
                  <c:v>3.0824412106206514</c:v>
                </c:pt>
                <c:pt idx="30">
                  <c:v>3.4373761820971898</c:v>
                </c:pt>
                <c:pt idx="31">
                  <c:v>3.3592059800458096</c:v>
                </c:pt>
                <c:pt idx="32">
                  <c:v>2.7908874840506379</c:v>
                </c:pt>
                <c:pt idx="33">
                  <c:v>1.857070475761174</c:v>
                </c:pt>
                <c:pt idx="34">
                  <c:v>1.2887519797660023</c:v>
                </c:pt>
                <c:pt idx="35">
                  <c:v>1.0584667899389626</c:v>
                </c:pt>
                <c:pt idx="36">
                  <c:v>0.86621034705583755</c:v>
                </c:pt>
                <c:pt idx="37">
                  <c:v>0.60845995110263718</c:v>
                </c:pt>
                <c:pt idx="38">
                  <c:v>0.3338078898410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40</c:f>
              <c:strCache>
                <c:ptCount val="39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</c:strCache>
            </c:strRef>
          </c:cat>
          <c:val>
            <c:numRef>
              <c:f>List1!$H$2:$H$40</c:f>
              <c:numCache>
                <c:formatCode>General</c:formatCode>
                <c:ptCount val="39"/>
                <c:pt idx="0">
                  <c:v>0.24831081426067519</c:v>
                </c:pt>
                <c:pt idx="1">
                  <c:v>0.37760875304729896</c:v>
                </c:pt>
                <c:pt idx="2">
                  <c:v>0.52306893418225076</c:v>
                </c:pt>
                <c:pt idx="3">
                  <c:v>0.73464737946945324</c:v>
                </c:pt>
                <c:pt idx="4">
                  <c:v>0.893331213434855</c:v>
                </c:pt>
                <c:pt idx="5">
                  <c:v>0.89039262391697738</c:v>
                </c:pt>
                <c:pt idx="6">
                  <c:v>0.95063370903347244</c:v>
                </c:pt>
                <c:pt idx="7">
                  <c:v>1.0960938901684243</c:v>
                </c:pt>
                <c:pt idx="8">
                  <c:v>1.2180453551603534</c:v>
                </c:pt>
                <c:pt idx="9">
                  <c:v>1.335588935875466</c:v>
                </c:pt>
                <c:pt idx="10">
                  <c:v>1.5104350121891958</c:v>
                </c:pt>
                <c:pt idx="11">
                  <c:v>1.4487246323137617</c:v>
                </c:pt>
                <c:pt idx="12">
                  <c:v>1.3150188092503212</c:v>
                </c:pt>
                <c:pt idx="13">
                  <c:v>1.1710279228743086</c:v>
                </c:pt>
                <c:pt idx="14">
                  <c:v>1.148988501490225</c:v>
                </c:pt>
                <c:pt idx="15">
                  <c:v>1.337058230634405</c:v>
                </c:pt>
                <c:pt idx="16">
                  <c:v>1.4972113593587457</c:v>
                </c:pt>
                <c:pt idx="17">
                  <c:v>1.7322985207889707</c:v>
                </c:pt>
                <c:pt idx="18">
                  <c:v>1.6867503832618647</c:v>
                </c:pt>
                <c:pt idx="19">
                  <c:v>1.4766412327336012</c:v>
                </c:pt>
                <c:pt idx="20">
                  <c:v>1.3914221367151445</c:v>
                </c:pt>
                <c:pt idx="21">
                  <c:v>1.2797557350357875</c:v>
                </c:pt>
                <c:pt idx="22">
                  <c:v>1.2283304184729258</c:v>
                </c:pt>
                <c:pt idx="23">
                  <c:v>1.1960059337762698</c:v>
                </c:pt>
                <c:pt idx="24">
                  <c:v>1.1519270910081025</c:v>
                </c:pt>
                <c:pt idx="25">
                  <c:v>1.2062909970888422</c:v>
                </c:pt>
                <c:pt idx="27">
                  <c:v>2.3640952671327007</c:v>
                </c:pt>
                <c:pt idx="28">
                  <c:v>2.8166380528858839</c:v>
                </c:pt>
                <c:pt idx="29">
                  <c:v>2.7152567145190991</c:v>
                </c:pt>
                <c:pt idx="30">
                  <c:v>1.7837238373518325</c:v>
                </c:pt>
                <c:pt idx="31">
                  <c:v>2.1657404746759479</c:v>
                </c:pt>
                <c:pt idx="32">
                  <c:v>1.8909823547543727</c:v>
                </c:pt>
                <c:pt idx="33">
                  <c:v>1.4340316847243728</c:v>
                </c:pt>
                <c:pt idx="34">
                  <c:v>1.1460499119723471</c:v>
                </c:pt>
                <c:pt idx="35">
                  <c:v>1.1548656805259805</c:v>
                </c:pt>
                <c:pt idx="36">
                  <c:v>1.3693827153310609</c:v>
                </c:pt>
                <c:pt idx="37">
                  <c:v>0.86247602349713814</c:v>
                </c:pt>
                <c:pt idx="38">
                  <c:v>1.1578042700438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1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01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chart" Target="../charts/chart7.xml"/><Relationship Id="rId4" Type="http://schemas.openxmlformats.org/officeDocument/2006/relationships/tags" Target="../tags/tag42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chart" Target="../charts/chart8.xml"/><Relationship Id="rId4" Type="http://schemas.openxmlformats.org/officeDocument/2006/relationships/tags" Target="../tags/tag62.xml"/><Relationship Id="rId9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10" Type="http://schemas.openxmlformats.org/officeDocument/2006/relationships/chart" Target="../charts/chart9.xml"/><Relationship Id="rId4" Type="http://schemas.openxmlformats.org/officeDocument/2006/relationships/tags" Target="../tags/tag69.xml"/><Relationship Id="rId9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0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7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1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chart" Target="../charts/chart1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chart" Target="../charts/chart2.xml"/><Relationship Id="rId4" Type="http://schemas.openxmlformats.org/officeDocument/2006/relationships/tags" Target="../tags/tag9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chart" Target="../charts/chart3.xml"/><Relationship Id="rId4" Type="http://schemas.openxmlformats.org/officeDocument/2006/relationships/tags" Target="../tags/tag16.xml"/><Relationship Id="rId9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1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02976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3.3.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27.3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12. týden roku 2022, a proto nebyla tato země do analýzy zahrnuta. </a:t>
            </a:r>
            <a:endParaRPr lang="cs-CZ" sz="1100" dirty="0">
              <a:solidFill>
                <a:schemeClr val="tx1"/>
              </a:solidFill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237372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1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011375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1. týdnu (14</a:t>
            </a:r>
            <a:r>
              <a:rPr lang="cs-CZ" sz="1600" dirty="0">
                <a:solidFill>
                  <a:srgbClr val="000000"/>
                </a:solidFill>
              </a:rPr>
              <a:t>.3.—20.3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 12. 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</a:p>
          <a:p>
            <a:pPr lvl="0" algn="ctr">
              <a:defRPr/>
            </a:pPr>
            <a:r>
              <a:rPr lang="cs-CZ" sz="1600" dirty="0">
                <a:solidFill>
                  <a:srgbClr val="000000"/>
                </a:solidFill>
              </a:rPr>
              <a:t>(21.3.—27.3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12. týden roku 2022, a proto nebyla tato země do analýzy zahrnuta. </a:t>
            </a:r>
            <a:endParaRPr lang="cs-CZ" sz="1100" dirty="0">
              <a:solidFill>
                <a:schemeClr val="tx1"/>
              </a:solidFill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259163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31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79053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55819" y="394065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75023" y="448565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73061" y="484278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48710" y="419332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27.3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31.3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734198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2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9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5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6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6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34300778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4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622599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5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2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316696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9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6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31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620175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53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2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5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549683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9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4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6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5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31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945856"/>
              </p:ext>
            </p:extLst>
          </p:nvPr>
        </p:nvGraphicFramePr>
        <p:xfrm>
          <a:off x="1058400" y="1003026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4066" y="45594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0568" y="473608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90968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976" y="508785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2. týdne roku 2022 (21.3.—27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436547"/>
              </p:ext>
            </p:extLst>
          </p:nvPr>
        </p:nvGraphicFramePr>
        <p:xfrm>
          <a:off x="1058400" y="978087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41980" y="458649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49903" y="47727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58211" y="51293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42880" y="49447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2. týdne roku 2022 (21.3.—27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63161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27.3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44212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96956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31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.4. 2022</a:t>
            </a:r>
          </a:p>
        </p:txBody>
      </p:sp>
      <p:sp>
        <p:nvSpPr>
          <p:cNvPr id="15" name="Obdélník 14"/>
          <p:cNvSpPr/>
          <p:nvPr>
            <p:custDataLst>
              <p:tags r:id="rId5"/>
            </p:custDataLst>
          </p:nvPr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400475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31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1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8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7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940305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31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1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3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1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6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.4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92799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31.3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3731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.4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504714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3926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31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9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4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3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0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3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749669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767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31.3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1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6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4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7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.4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.4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31.3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54256533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>
            <p:custDataLst>
              <p:tags r:id="rId4"/>
            </p:custDataLst>
          </p:nvPr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13.3. 2022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27.3. 202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697092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5823652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764140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2. týdne roku 2022 (21.3.—27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70846" y="436589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3669" y="534923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3822" y="517566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60570" y="497712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257374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2. týdne roku 2022 (21.3.—27.3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463176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30" y="535755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77196" y="516654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52146" y="499574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10. týdnu vs. 9. týdnu a 12. týdnu vs. 11. týdnu roku 2022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571819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4682997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568554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1.2. 2022—27.3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17 2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1 4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2 4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 66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 78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4 94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4 14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 46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 79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 68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 64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 55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 88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 55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lt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 61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21.2. 2022 do 27.3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8653405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1.2. 2022—27.3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 89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i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 1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 1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171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orvat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 10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 97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57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4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 2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 9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 5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 0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 2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 3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7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31.3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10928"/>
            <a:ext cx="501366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Chorvatska nejsou dostupné údaje o počtu provedených testů za 8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 Data pro tento týden byla převzata z reportu k 3.3.2022. </a:t>
            </a:r>
            <a:br>
              <a:rPr lang="cs-CZ" sz="1100" dirty="0"/>
            </a:b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12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22881</TotalTime>
  <Words>3016</Words>
  <Application>Microsoft Office PowerPoint</Application>
  <PresentationFormat>Širokoúhlá obrazovka</PresentationFormat>
  <Paragraphs>957</Paragraphs>
  <Slides>25</Slides>
  <Notes>2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5</vt:i4>
      </vt:variant>
    </vt:vector>
  </HeadingPairs>
  <TitlesOfParts>
    <vt:vector size="29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  od 21.2. 2022 do 27.3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Kouřil Jan Mgr.</cp:lastModifiedBy>
  <cp:revision>1368</cp:revision>
  <dcterms:created xsi:type="dcterms:W3CDTF">2020-11-14T13:18:43Z</dcterms:created>
  <dcterms:modified xsi:type="dcterms:W3CDTF">2022-04-01T12:55:10Z</dcterms:modified>
</cp:coreProperties>
</file>